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61" r:id="rId1"/>
  </p:sldMasterIdLst>
  <p:notesMasterIdLst>
    <p:notesMasterId r:id="rId20"/>
  </p:notesMasterIdLst>
  <p:handoutMasterIdLst>
    <p:handoutMasterId r:id="rId21"/>
  </p:handoutMasterIdLst>
  <p:sldIdLst>
    <p:sldId id="644" r:id="rId2"/>
    <p:sldId id="641" r:id="rId3"/>
    <p:sldId id="645" r:id="rId4"/>
    <p:sldId id="286" r:id="rId5"/>
    <p:sldId id="256" r:id="rId6"/>
    <p:sldId id="317" r:id="rId7"/>
    <p:sldId id="297" r:id="rId8"/>
    <p:sldId id="298" r:id="rId9"/>
    <p:sldId id="299" r:id="rId10"/>
    <p:sldId id="288" r:id="rId11"/>
    <p:sldId id="295" r:id="rId12"/>
    <p:sldId id="301" r:id="rId13"/>
    <p:sldId id="300" r:id="rId14"/>
    <p:sldId id="321" r:id="rId15"/>
    <p:sldId id="322" r:id="rId16"/>
    <p:sldId id="323" r:id="rId17"/>
    <p:sldId id="325" r:id="rId18"/>
    <p:sldId id="326" r:id="rId19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22"/>
      <p:bold r:id="rId23"/>
      <p:italic r:id="rId24"/>
      <p:boldItalic r:id="rId25"/>
    </p:embeddedFont>
    <p:embeddedFont>
      <p:font typeface="Century Gothic" panose="020B0502020202020204" pitchFamily="34" charset="0"/>
      <p:regular r:id="rId26"/>
      <p:bold r:id="rId27"/>
      <p:italic r:id="rId28"/>
      <p:boldItalic r:id="rId29"/>
    </p:embeddedFont>
    <p:embeddedFont>
      <p:font typeface="Georgia" panose="02040502050405020303" pitchFamily="18" charset="0"/>
      <p:regular r:id="rId30"/>
      <p:bold r:id="rId31"/>
      <p:italic r:id="rId32"/>
      <p:boldItalic r:id="rId33"/>
    </p:embeddedFont>
    <p:embeddedFont>
      <p:font typeface="Nunito Sans" panose="020B0604020202020204" charset="0"/>
      <p:regular r:id="rId34"/>
      <p:bold r:id="rId35"/>
      <p:italic r:id="rId36"/>
      <p:boldItalic r:id="rId37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6D4A6"/>
    <a:srgbClr val="26D499"/>
    <a:srgbClr val="339966"/>
    <a:srgbClr val="008080"/>
    <a:srgbClr val="33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EF9BA9C-C8CF-42A5-8652-9EEBF0FB96B9}" v="149" dt="2019-08-13T13:46:00.953"/>
  </p1510:revLst>
</p1510:revInfo>
</file>

<file path=ppt/tableStyles.xml><?xml version="1.0" encoding="utf-8"?>
<a:tblStyleLst xmlns:a="http://schemas.openxmlformats.org/drawingml/2006/main" def="{581C8CF5-9E2A-41C6-92A9-9E7DF62D5628}">
  <a:tblStyle styleId="{581C8CF5-9E2A-41C6-92A9-9E7DF62D5628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550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027" y="7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5.fntdata"/><Relationship Id="rId39" Type="http://schemas.openxmlformats.org/officeDocument/2006/relationships/viewProps" Target="viewProps.xml"/><Relationship Id="rId21" Type="http://schemas.openxmlformats.org/officeDocument/2006/relationships/handoutMaster" Target="handoutMasters/handoutMaster1.xml"/><Relationship Id="rId34" Type="http://schemas.openxmlformats.org/officeDocument/2006/relationships/font" Target="fonts/font13.fntdata"/><Relationship Id="rId42" Type="http://schemas.microsoft.com/office/2015/10/relationships/revisionInfo" Target="revisionInfo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29" Type="http://schemas.openxmlformats.org/officeDocument/2006/relationships/font" Target="fonts/font8.fntdata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3.fntdata"/><Relationship Id="rId32" Type="http://schemas.openxmlformats.org/officeDocument/2006/relationships/font" Target="fonts/font11.fntdata"/><Relationship Id="rId37" Type="http://schemas.openxmlformats.org/officeDocument/2006/relationships/font" Target="fonts/font16.fntdata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2.fntdata"/><Relationship Id="rId28" Type="http://schemas.openxmlformats.org/officeDocument/2006/relationships/font" Target="fonts/font7.fntdata"/><Relationship Id="rId36" Type="http://schemas.openxmlformats.org/officeDocument/2006/relationships/font" Target="fonts/font15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10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1.fntdata"/><Relationship Id="rId27" Type="http://schemas.openxmlformats.org/officeDocument/2006/relationships/font" Target="fonts/font6.fntdata"/><Relationship Id="rId30" Type="http://schemas.openxmlformats.org/officeDocument/2006/relationships/font" Target="fonts/font9.fntdata"/><Relationship Id="rId35" Type="http://schemas.openxmlformats.org/officeDocument/2006/relationships/font" Target="fonts/font14.fntdata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4.fntdata"/><Relationship Id="rId33" Type="http://schemas.openxmlformats.org/officeDocument/2006/relationships/font" Target="fonts/font12.fntdata"/><Relationship Id="rId38" Type="http://schemas.openxmlformats.org/officeDocument/2006/relationships/presProps" Target="presProps.xml"/></Relationships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98.jpeg"/></Relationships>
</file>

<file path=ppt/diagrams/_rels/data10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7.jpg"/></Relationships>
</file>

<file path=ppt/diagrams/_rels/data1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8.jpg"/></Relationships>
</file>

<file path=ppt/diagrams/_rels/data1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9.jpg"/></Relationships>
</file>

<file path=ppt/diagrams/_rels/data1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10.jpeg"/></Relationships>
</file>

<file path=ppt/diagrams/_rels/data1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11.jpeg"/></Relationships>
</file>

<file path=ppt/diagrams/_rels/data1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12.jpg"/></Relationships>
</file>

<file path=ppt/diagrams/_rels/data1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13.jpeg"/></Relationships>
</file>

<file path=ppt/diagrams/_rels/data2.xml.rels><?xml version="1.0" encoding="UTF-8" standalone="yes"?>
<Relationships xmlns="http://schemas.openxmlformats.org/package/2006/relationships"><Relationship Id="rId1" Type="http://schemas.openxmlformats.org/officeDocument/2006/relationships/image" Target="../media/image99.jpg"/></Relationships>
</file>

<file path=ppt/diagrams/_rels/data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0.jpeg"/></Relationships>
</file>

<file path=ppt/diagrams/_rels/data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1.jpeg"/></Relationships>
</file>

<file path=ppt/diagrams/_rels/data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2.jpg"/></Relationships>
</file>

<file path=ppt/diagrams/_rels/data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3.jpg"/></Relationships>
</file>

<file path=ppt/diagrams/_rels/data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4.jpg"/></Relationships>
</file>

<file path=ppt/diagrams/_rels/data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5.jpeg"/></Relationships>
</file>

<file path=ppt/diagrams/_rels/data9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6.jpeg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98.jpeg"/></Relationships>
</file>

<file path=ppt/diagrams/_rels/drawing10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7.jpg"/></Relationships>
</file>

<file path=ppt/diagrams/_rels/drawing1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8.jpg"/></Relationships>
</file>

<file path=ppt/diagrams/_rels/drawing1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9.jpg"/></Relationships>
</file>

<file path=ppt/diagrams/_rels/drawing1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10.jpeg"/></Relationships>
</file>

<file path=ppt/diagrams/_rels/drawing1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11.jpeg"/></Relationships>
</file>

<file path=ppt/diagrams/_rels/drawing1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12.jpg"/></Relationships>
</file>

<file path=ppt/diagrams/_rels/drawing1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13.jpeg"/></Relationships>
</file>

<file path=ppt/diagrams/_rels/drawing2.xml.rels><?xml version="1.0" encoding="UTF-8" standalone="yes"?>
<Relationships xmlns="http://schemas.openxmlformats.org/package/2006/relationships"><Relationship Id="rId1" Type="http://schemas.openxmlformats.org/officeDocument/2006/relationships/image" Target="../media/image99.jpg"/></Relationships>
</file>

<file path=ppt/diagrams/_rels/drawing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0.jpeg"/></Relationships>
</file>

<file path=ppt/diagrams/_rels/drawing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1.jpeg"/></Relationships>
</file>

<file path=ppt/diagrams/_rels/drawing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2.jpg"/></Relationships>
</file>

<file path=ppt/diagrams/_rels/drawing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3.jpg"/></Relationships>
</file>

<file path=ppt/diagrams/_rels/drawing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4.jpg"/></Relationships>
</file>

<file path=ppt/diagrams/_rels/drawing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5.jpeg"/></Relationships>
</file>

<file path=ppt/diagrams/_rels/drawing9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6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4EEB783-744F-4B89-9E83-DAE1A17B3BCD}" type="doc">
      <dgm:prSet loTypeId="urn:microsoft.com/office/officeart/2008/layout/BendingPictureBlocks" loCatId="picture" qsTypeId="urn:microsoft.com/office/officeart/2005/8/quickstyle/simple1" qsCatId="simple" csTypeId="urn:microsoft.com/office/officeart/2005/8/colors/accent6_2" csCatId="accent6" phldr="1"/>
      <dgm:spPr/>
    </dgm:pt>
    <dgm:pt modelId="{C7E19854-EF29-4863-AA3A-9D57244E2B2F}">
      <dgm:prSet phldrT="[Texto]"/>
      <dgm:spPr>
        <a:solidFill>
          <a:srgbClr val="47D7AC"/>
        </a:solidFill>
      </dgm:spPr>
      <dgm:t>
        <a:bodyPr/>
        <a:lstStyle/>
        <a:p>
          <a:r>
            <a:rPr lang="pt-BR" dirty="0" err="1"/>
            <a:t>Soy</a:t>
          </a:r>
          <a:endParaRPr lang="pt-BR" dirty="0"/>
        </a:p>
      </dgm:t>
    </dgm:pt>
    <dgm:pt modelId="{76DE607B-0789-4F46-BA84-D76438A54B8D}" type="parTrans" cxnId="{CF3BA571-52CF-4CB2-9E01-1ABDF4F31D0E}">
      <dgm:prSet/>
      <dgm:spPr/>
      <dgm:t>
        <a:bodyPr/>
        <a:lstStyle/>
        <a:p>
          <a:endParaRPr lang="pt-BR"/>
        </a:p>
      </dgm:t>
    </dgm:pt>
    <dgm:pt modelId="{EFC47F06-6AE3-46F6-8330-59D057633E7C}" type="sibTrans" cxnId="{CF3BA571-52CF-4CB2-9E01-1ABDF4F31D0E}">
      <dgm:prSet/>
      <dgm:spPr/>
      <dgm:t>
        <a:bodyPr/>
        <a:lstStyle/>
        <a:p>
          <a:endParaRPr lang="pt-BR"/>
        </a:p>
      </dgm:t>
    </dgm:pt>
    <dgm:pt modelId="{65A103B4-C3BE-4C04-B35B-8C877EDC76CA}" type="pres">
      <dgm:prSet presAssocID="{E4EEB783-744F-4B89-9E83-DAE1A17B3BCD}" presName="Name0" presStyleCnt="0">
        <dgm:presLayoutVars>
          <dgm:dir/>
          <dgm:resizeHandles/>
        </dgm:presLayoutVars>
      </dgm:prSet>
      <dgm:spPr/>
    </dgm:pt>
    <dgm:pt modelId="{C51C9290-F584-40B4-957F-AEFF9481D1FA}" type="pres">
      <dgm:prSet presAssocID="{C7E19854-EF29-4863-AA3A-9D57244E2B2F}" presName="composite" presStyleCnt="0"/>
      <dgm:spPr/>
    </dgm:pt>
    <dgm:pt modelId="{A1C033ED-797D-49F0-A663-0EF56CABE9B7}" type="pres">
      <dgm:prSet presAssocID="{C7E19854-EF29-4863-AA3A-9D57244E2B2F}" presName="rect1" presStyleLbl="bgImgPlace1" presStyleIdx="0" presStyleCnt="1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3000" r="-13000"/>
          </a:stretch>
        </a:blipFill>
      </dgm:spPr>
      <dgm:extLst>
        <a:ext uri="{E40237B7-FDA0-4F09-8148-C483321AD2D9}">
          <dgm14:cNvPr xmlns:dgm14="http://schemas.microsoft.com/office/drawing/2010/diagram" id="0" name="" descr="Resultado de imagem para soja"/>
        </a:ext>
      </dgm:extLst>
    </dgm:pt>
    <dgm:pt modelId="{4FB529C0-CB01-4A1A-849E-B92CDF58C7FF}" type="pres">
      <dgm:prSet presAssocID="{C7E19854-EF29-4863-AA3A-9D57244E2B2F}" presName="rect2" presStyleLbl="node1" presStyleIdx="0" presStyleCnt="1">
        <dgm:presLayoutVars>
          <dgm:bulletEnabled val="1"/>
        </dgm:presLayoutVars>
      </dgm:prSet>
      <dgm:spPr/>
    </dgm:pt>
  </dgm:ptLst>
  <dgm:cxnLst>
    <dgm:cxn modelId="{CF3BA571-52CF-4CB2-9E01-1ABDF4F31D0E}" srcId="{E4EEB783-744F-4B89-9E83-DAE1A17B3BCD}" destId="{C7E19854-EF29-4863-AA3A-9D57244E2B2F}" srcOrd="0" destOrd="0" parTransId="{76DE607B-0789-4F46-BA84-D76438A54B8D}" sibTransId="{EFC47F06-6AE3-46F6-8330-59D057633E7C}"/>
    <dgm:cxn modelId="{64FE0953-94E0-45F9-9D4E-B117E6D0308A}" type="presOf" srcId="{C7E19854-EF29-4863-AA3A-9D57244E2B2F}" destId="{4FB529C0-CB01-4A1A-849E-B92CDF58C7FF}" srcOrd="0" destOrd="0" presId="urn:microsoft.com/office/officeart/2008/layout/BendingPictureBlocks"/>
    <dgm:cxn modelId="{E9706CBD-DD6A-4F71-90A5-E73FA75791E6}" type="presOf" srcId="{E4EEB783-744F-4B89-9E83-DAE1A17B3BCD}" destId="{65A103B4-C3BE-4C04-B35B-8C877EDC76CA}" srcOrd="0" destOrd="0" presId="urn:microsoft.com/office/officeart/2008/layout/BendingPictureBlocks"/>
    <dgm:cxn modelId="{2E29DF28-A60A-467B-A931-97249528AA33}" type="presParOf" srcId="{65A103B4-C3BE-4C04-B35B-8C877EDC76CA}" destId="{C51C9290-F584-40B4-957F-AEFF9481D1FA}" srcOrd="0" destOrd="0" presId="urn:microsoft.com/office/officeart/2008/layout/BendingPictureBlocks"/>
    <dgm:cxn modelId="{121BC42C-90F6-4403-A51A-4FF9091438E4}" type="presParOf" srcId="{C51C9290-F584-40B4-957F-AEFF9481D1FA}" destId="{A1C033ED-797D-49F0-A663-0EF56CABE9B7}" srcOrd="0" destOrd="0" presId="urn:microsoft.com/office/officeart/2008/layout/BendingPictureBlocks"/>
    <dgm:cxn modelId="{789BC51C-664A-4BF7-8351-01DD04101FA0}" type="presParOf" srcId="{C51C9290-F584-40B4-957F-AEFF9481D1FA}" destId="{4FB529C0-CB01-4A1A-849E-B92CDF58C7FF}" srcOrd="1" destOrd="0" presId="urn:microsoft.com/office/officeart/2008/layout/BendingPictureBlock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E4EEB783-744F-4B89-9E83-DAE1A17B3BCD}" type="doc">
      <dgm:prSet loTypeId="urn:microsoft.com/office/officeart/2008/layout/BendingPictureBlocks" loCatId="picture" qsTypeId="urn:microsoft.com/office/officeart/2005/8/quickstyle/simple1" qsCatId="simple" csTypeId="urn:microsoft.com/office/officeart/2005/8/colors/accent6_2" csCatId="accent6" phldr="1"/>
      <dgm:spPr/>
    </dgm:pt>
    <dgm:pt modelId="{C7E19854-EF29-4863-AA3A-9D57244E2B2F}">
      <dgm:prSet phldrT="[Texto]"/>
      <dgm:spPr>
        <a:solidFill>
          <a:srgbClr val="47D7AC"/>
        </a:solidFill>
      </dgm:spPr>
      <dgm:t>
        <a:bodyPr/>
        <a:lstStyle/>
        <a:p>
          <a:r>
            <a:rPr lang="pt-BR" dirty="0"/>
            <a:t>Sugar</a:t>
          </a:r>
        </a:p>
      </dgm:t>
    </dgm:pt>
    <dgm:pt modelId="{76DE607B-0789-4F46-BA84-D76438A54B8D}" type="parTrans" cxnId="{CF3BA571-52CF-4CB2-9E01-1ABDF4F31D0E}">
      <dgm:prSet/>
      <dgm:spPr/>
      <dgm:t>
        <a:bodyPr/>
        <a:lstStyle/>
        <a:p>
          <a:endParaRPr lang="pt-BR"/>
        </a:p>
      </dgm:t>
    </dgm:pt>
    <dgm:pt modelId="{EFC47F06-6AE3-46F6-8330-59D057633E7C}" type="sibTrans" cxnId="{CF3BA571-52CF-4CB2-9E01-1ABDF4F31D0E}">
      <dgm:prSet/>
      <dgm:spPr/>
      <dgm:t>
        <a:bodyPr/>
        <a:lstStyle/>
        <a:p>
          <a:endParaRPr lang="pt-BR"/>
        </a:p>
      </dgm:t>
    </dgm:pt>
    <dgm:pt modelId="{65A103B4-C3BE-4C04-B35B-8C877EDC76CA}" type="pres">
      <dgm:prSet presAssocID="{E4EEB783-744F-4B89-9E83-DAE1A17B3BCD}" presName="Name0" presStyleCnt="0">
        <dgm:presLayoutVars>
          <dgm:dir/>
          <dgm:resizeHandles/>
        </dgm:presLayoutVars>
      </dgm:prSet>
      <dgm:spPr/>
    </dgm:pt>
    <dgm:pt modelId="{C51C9290-F584-40B4-957F-AEFF9481D1FA}" type="pres">
      <dgm:prSet presAssocID="{C7E19854-EF29-4863-AA3A-9D57244E2B2F}" presName="composite" presStyleCnt="0"/>
      <dgm:spPr/>
    </dgm:pt>
    <dgm:pt modelId="{A1C033ED-797D-49F0-A663-0EF56CABE9B7}" type="pres">
      <dgm:prSet presAssocID="{C7E19854-EF29-4863-AA3A-9D57244E2B2F}" presName="rect1" presStyleLbl="bgImgPlace1" presStyleIdx="0" presStyleCnt="1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</dgm:spPr>
    </dgm:pt>
    <dgm:pt modelId="{4FB529C0-CB01-4A1A-849E-B92CDF58C7FF}" type="pres">
      <dgm:prSet presAssocID="{C7E19854-EF29-4863-AA3A-9D57244E2B2F}" presName="rect2" presStyleLbl="node1" presStyleIdx="0" presStyleCnt="1">
        <dgm:presLayoutVars>
          <dgm:bulletEnabled val="1"/>
        </dgm:presLayoutVars>
      </dgm:prSet>
      <dgm:spPr/>
    </dgm:pt>
  </dgm:ptLst>
  <dgm:cxnLst>
    <dgm:cxn modelId="{0D596E6B-7225-4BF0-809B-8094B230BE40}" type="presOf" srcId="{E4EEB783-744F-4B89-9E83-DAE1A17B3BCD}" destId="{65A103B4-C3BE-4C04-B35B-8C877EDC76CA}" srcOrd="0" destOrd="0" presId="urn:microsoft.com/office/officeart/2008/layout/BendingPictureBlocks"/>
    <dgm:cxn modelId="{CF3BA571-52CF-4CB2-9E01-1ABDF4F31D0E}" srcId="{E4EEB783-744F-4B89-9E83-DAE1A17B3BCD}" destId="{C7E19854-EF29-4863-AA3A-9D57244E2B2F}" srcOrd="0" destOrd="0" parTransId="{76DE607B-0789-4F46-BA84-D76438A54B8D}" sibTransId="{EFC47F06-6AE3-46F6-8330-59D057633E7C}"/>
    <dgm:cxn modelId="{6A7F79C7-73B8-4DDF-8242-8494A9131E3C}" type="presOf" srcId="{C7E19854-EF29-4863-AA3A-9D57244E2B2F}" destId="{4FB529C0-CB01-4A1A-849E-B92CDF58C7FF}" srcOrd="0" destOrd="0" presId="urn:microsoft.com/office/officeart/2008/layout/BendingPictureBlocks"/>
    <dgm:cxn modelId="{8ADADC76-F1AE-4EFB-A29F-59840C8AAD43}" type="presParOf" srcId="{65A103B4-C3BE-4C04-B35B-8C877EDC76CA}" destId="{C51C9290-F584-40B4-957F-AEFF9481D1FA}" srcOrd="0" destOrd="0" presId="urn:microsoft.com/office/officeart/2008/layout/BendingPictureBlocks"/>
    <dgm:cxn modelId="{82A2DE64-AC03-4310-851A-A317234C27AB}" type="presParOf" srcId="{C51C9290-F584-40B4-957F-AEFF9481D1FA}" destId="{A1C033ED-797D-49F0-A663-0EF56CABE9B7}" srcOrd="0" destOrd="0" presId="urn:microsoft.com/office/officeart/2008/layout/BendingPictureBlocks"/>
    <dgm:cxn modelId="{7AA2B592-0562-4B74-A696-1CD05FD7485F}" type="presParOf" srcId="{C51C9290-F584-40B4-957F-AEFF9481D1FA}" destId="{4FB529C0-CB01-4A1A-849E-B92CDF58C7FF}" srcOrd="1" destOrd="0" presId="urn:microsoft.com/office/officeart/2008/layout/BendingPictureBlocks"/>
  </dgm:cxnLst>
  <dgm:bg/>
  <dgm:whole/>
  <dgm:extLst>
    <a:ext uri="http://schemas.microsoft.com/office/drawing/2008/diagram">
      <dsp:dataModelExt xmlns:dsp="http://schemas.microsoft.com/office/drawing/2008/diagram" relId="rId52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E4EEB783-744F-4B89-9E83-DAE1A17B3BCD}" type="doc">
      <dgm:prSet loTypeId="urn:microsoft.com/office/officeart/2008/layout/BendingPictureBlocks" loCatId="picture" qsTypeId="urn:microsoft.com/office/officeart/2005/8/quickstyle/simple1" qsCatId="simple" csTypeId="urn:microsoft.com/office/officeart/2005/8/colors/accent6_2" csCatId="accent6" phldr="1"/>
      <dgm:spPr/>
    </dgm:pt>
    <dgm:pt modelId="{C7E19854-EF29-4863-AA3A-9D57244E2B2F}">
      <dgm:prSet phldrT="[Texto]"/>
      <dgm:spPr>
        <a:solidFill>
          <a:srgbClr val="47D7AC"/>
        </a:solidFill>
      </dgm:spPr>
      <dgm:t>
        <a:bodyPr/>
        <a:lstStyle/>
        <a:p>
          <a:r>
            <a:rPr lang="pt-BR" dirty="0" err="1"/>
            <a:t>Cocoa</a:t>
          </a:r>
          <a:endParaRPr lang="pt-BR" dirty="0"/>
        </a:p>
      </dgm:t>
    </dgm:pt>
    <dgm:pt modelId="{76DE607B-0789-4F46-BA84-D76438A54B8D}" type="parTrans" cxnId="{CF3BA571-52CF-4CB2-9E01-1ABDF4F31D0E}">
      <dgm:prSet/>
      <dgm:spPr/>
      <dgm:t>
        <a:bodyPr/>
        <a:lstStyle/>
        <a:p>
          <a:endParaRPr lang="pt-BR"/>
        </a:p>
      </dgm:t>
    </dgm:pt>
    <dgm:pt modelId="{EFC47F06-6AE3-46F6-8330-59D057633E7C}" type="sibTrans" cxnId="{CF3BA571-52CF-4CB2-9E01-1ABDF4F31D0E}">
      <dgm:prSet/>
      <dgm:spPr/>
      <dgm:t>
        <a:bodyPr/>
        <a:lstStyle/>
        <a:p>
          <a:endParaRPr lang="pt-BR"/>
        </a:p>
      </dgm:t>
    </dgm:pt>
    <dgm:pt modelId="{65A103B4-C3BE-4C04-B35B-8C877EDC76CA}" type="pres">
      <dgm:prSet presAssocID="{E4EEB783-744F-4B89-9E83-DAE1A17B3BCD}" presName="Name0" presStyleCnt="0">
        <dgm:presLayoutVars>
          <dgm:dir/>
          <dgm:resizeHandles/>
        </dgm:presLayoutVars>
      </dgm:prSet>
      <dgm:spPr/>
    </dgm:pt>
    <dgm:pt modelId="{C51C9290-F584-40B4-957F-AEFF9481D1FA}" type="pres">
      <dgm:prSet presAssocID="{C7E19854-EF29-4863-AA3A-9D57244E2B2F}" presName="composite" presStyleCnt="0"/>
      <dgm:spPr/>
    </dgm:pt>
    <dgm:pt modelId="{A1C033ED-797D-49F0-A663-0EF56CABE9B7}" type="pres">
      <dgm:prSet presAssocID="{C7E19854-EF29-4863-AA3A-9D57244E2B2F}" presName="rect1" presStyleLbl="bgImgPlace1" presStyleIdx="0" presStyleCnt="1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000" r="-6000"/>
          </a:stretch>
        </a:blipFill>
      </dgm:spPr>
    </dgm:pt>
    <dgm:pt modelId="{4FB529C0-CB01-4A1A-849E-B92CDF58C7FF}" type="pres">
      <dgm:prSet presAssocID="{C7E19854-EF29-4863-AA3A-9D57244E2B2F}" presName="rect2" presStyleLbl="node1" presStyleIdx="0" presStyleCnt="1">
        <dgm:presLayoutVars>
          <dgm:bulletEnabled val="1"/>
        </dgm:presLayoutVars>
      </dgm:prSet>
      <dgm:spPr/>
    </dgm:pt>
  </dgm:ptLst>
  <dgm:cxnLst>
    <dgm:cxn modelId="{05AC724E-D921-4863-97B4-817CF20AEDA9}" type="presOf" srcId="{C7E19854-EF29-4863-AA3A-9D57244E2B2F}" destId="{4FB529C0-CB01-4A1A-849E-B92CDF58C7FF}" srcOrd="0" destOrd="0" presId="urn:microsoft.com/office/officeart/2008/layout/BendingPictureBlocks"/>
    <dgm:cxn modelId="{CF3BA571-52CF-4CB2-9E01-1ABDF4F31D0E}" srcId="{E4EEB783-744F-4B89-9E83-DAE1A17B3BCD}" destId="{C7E19854-EF29-4863-AA3A-9D57244E2B2F}" srcOrd="0" destOrd="0" parTransId="{76DE607B-0789-4F46-BA84-D76438A54B8D}" sibTransId="{EFC47F06-6AE3-46F6-8330-59D057633E7C}"/>
    <dgm:cxn modelId="{EBB693BC-A260-432A-B8FA-9D085CAC73A4}" type="presOf" srcId="{E4EEB783-744F-4B89-9E83-DAE1A17B3BCD}" destId="{65A103B4-C3BE-4C04-B35B-8C877EDC76CA}" srcOrd="0" destOrd="0" presId="urn:microsoft.com/office/officeart/2008/layout/BendingPictureBlocks"/>
    <dgm:cxn modelId="{DE829049-C19E-45C1-8F76-99836332FAF9}" type="presParOf" srcId="{65A103B4-C3BE-4C04-B35B-8C877EDC76CA}" destId="{C51C9290-F584-40B4-957F-AEFF9481D1FA}" srcOrd="0" destOrd="0" presId="urn:microsoft.com/office/officeart/2008/layout/BendingPictureBlocks"/>
    <dgm:cxn modelId="{82FEBEF1-39F6-42AB-83B7-2DA6171FC1AC}" type="presParOf" srcId="{C51C9290-F584-40B4-957F-AEFF9481D1FA}" destId="{A1C033ED-797D-49F0-A663-0EF56CABE9B7}" srcOrd="0" destOrd="0" presId="urn:microsoft.com/office/officeart/2008/layout/BendingPictureBlocks"/>
    <dgm:cxn modelId="{B86AE02C-FA6F-4C00-82F6-7B284764ED4F}" type="presParOf" srcId="{C51C9290-F584-40B4-957F-AEFF9481D1FA}" destId="{4FB529C0-CB01-4A1A-849E-B92CDF58C7FF}" srcOrd="1" destOrd="0" presId="urn:microsoft.com/office/officeart/2008/layout/BendingPictureBlocks"/>
  </dgm:cxnLst>
  <dgm:bg/>
  <dgm:whole/>
  <dgm:extLst>
    <a:ext uri="http://schemas.microsoft.com/office/drawing/2008/diagram">
      <dsp:dataModelExt xmlns:dsp="http://schemas.microsoft.com/office/drawing/2008/diagram" relId="rId57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E4EEB783-744F-4B89-9E83-DAE1A17B3BCD}" type="doc">
      <dgm:prSet loTypeId="urn:microsoft.com/office/officeart/2008/layout/BendingPictureBlocks" loCatId="picture" qsTypeId="urn:microsoft.com/office/officeart/2005/8/quickstyle/simple1" qsCatId="simple" csTypeId="urn:microsoft.com/office/officeart/2005/8/colors/accent6_2" csCatId="accent6" phldr="1"/>
      <dgm:spPr/>
    </dgm:pt>
    <dgm:pt modelId="{C7E19854-EF29-4863-AA3A-9D57244E2B2F}">
      <dgm:prSet phldrT="[Texto]"/>
      <dgm:spPr>
        <a:solidFill>
          <a:srgbClr val="47D7AC"/>
        </a:solidFill>
      </dgm:spPr>
      <dgm:t>
        <a:bodyPr/>
        <a:lstStyle/>
        <a:p>
          <a:r>
            <a:rPr lang="pt-BR" dirty="0" err="1"/>
            <a:t>Hay</a:t>
          </a:r>
          <a:endParaRPr lang="pt-BR" dirty="0"/>
        </a:p>
      </dgm:t>
    </dgm:pt>
    <dgm:pt modelId="{76DE607B-0789-4F46-BA84-D76438A54B8D}" type="parTrans" cxnId="{CF3BA571-52CF-4CB2-9E01-1ABDF4F31D0E}">
      <dgm:prSet/>
      <dgm:spPr/>
      <dgm:t>
        <a:bodyPr/>
        <a:lstStyle/>
        <a:p>
          <a:endParaRPr lang="pt-BR"/>
        </a:p>
      </dgm:t>
    </dgm:pt>
    <dgm:pt modelId="{EFC47F06-6AE3-46F6-8330-59D057633E7C}" type="sibTrans" cxnId="{CF3BA571-52CF-4CB2-9E01-1ABDF4F31D0E}">
      <dgm:prSet/>
      <dgm:spPr/>
      <dgm:t>
        <a:bodyPr/>
        <a:lstStyle/>
        <a:p>
          <a:endParaRPr lang="pt-BR"/>
        </a:p>
      </dgm:t>
    </dgm:pt>
    <dgm:pt modelId="{65A103B4-C3BE-4C04-B35B-8C877EDC76CA}" type="pres">
      <dgm:prSet presAssocID="{E4EEB783-744F-4B89-9E83-DAE1A17B3BCD}" presName="Name0" presStyleCnt="0">
        <dgm:presLayoutVars>
          <dgm:dir/>
          <dgm:resizeHandles/>
        </dgm:presLayoutVars>
      </dgm:prSet>
      <dgm:spPr/>
    </dgm:pt>
    <dgm:pt modelId="{C51C9290-F584-40B4-957F-AEFF9481D1FA}" type="pres">
      <dgm:prSet presAssocID="{C7E19854-EF29-4863-AA3A-9D57244E2B2F}" presName="composite" presStyleCnt="0"/>
      <dgm:spPr/>
    </dgm:pt>
    <dgm:pt modelId="{A1C033ED-797D-49F0-A663-0EF56CABE9B7}" type="pres">
      <dgm:prSet presAssocID="{C7E19854-EF29-4863-AA3A-9D57244E2B2F}" presName="rect1" presStyleLbl="bgImgPlace1" presStyleIdx="0" presStyleCnt="1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000" b="-1000"/>
          </a:stretch>
        </a:blipFill>
      </dgm:spPr>
    </dgm:pt>
    <dgm:pt modelId="{4FB529C0-CB01-4A1A-849E-B92CDF58C7FF}" type="pres">
      <dgm:prSet presAssocID="{C7E19854-EF29-4863-AA3A-9D57244E2B2F}" presName="rect2" presStyleLbl="node1" presStyleIdx="0" presStyleCnt="1">
        <dgm:presLayoutVars>
          <dgm:bulletEnabled val="1"/>
        </dgm:presLayoutVars>
      </dgm:prSet>
      <dgm:spPr/>
    </dgm:pt>
  </dgm:ptLst>
  <dgm:cxnLst>
    <dgm:cxn modelId="{CF3BA571-52CF-4CB2-9E01-1ABDF4F31D0E}" srcId="{E4EEB783-744F-4B89-9E83-DAE1A17B3BCD}" destId="{C7E19854-EF29-4863-AA3A-9D57244E2B2F}" srcOrd="0" destOrd="0" parTransId="{76DE607B-0789-4F46-BA84-D76438A54B8D}" sibTransId="{EFC47F06-6AE3-46F6-8330-59D057633E7C}"/>
    <dgm:cxn modelId="{5080C2C3-EE30-47C9-944F-E6D4D79A3C1A}" type="presOf" srcId="{E4EEB783-744F-4B89-9E83-DAE1A17B3BCD}" destId="{65A103B4-C3BE-4C04-B35B-8C877EDC76CA}" srcOrd="0" destOrd="0" presId="urn:microsoft.com/office/officeart/2008/layout/BendingPictureBlocks"/>
    <dgm:cxn modelId="{61DCBDF0-6919-4893-9F89-E7A65746736F}" type="presOf" srcId="{C7E19854-EF29-4863-AA3A-9D57244E2B2F}" destId="{4FB529C0-CB01-4A1A-849E-B92CDF58C7FF}" srcOrd="0" destOrd="0" presId="urn:microsoft.com/office/officeart/2008/layout/BendingPictureBlocks"/>
    <dgm:cxn modelId="{492EC50A-FB13-4AAE-AD85-EBD7EF3D9BD6}" type="presParOf" srcId="{65A103B4-C3BE-4C04-B35B-8C877EDC76CA}" destId="{C51C9290-F584-40B4-957F-AEFF9481D1FA}" srcOrd="0" destOrd="0" presId="urn:microsoft.com/office/officeart/2008/layout/BendingPictureBlocks"/>
    <dgm:cxn modelId="{FF76798B-6B98-4F2B-A2DE-1D5C45F756FE}" type="presParOf" srcId="{C51C9290-F584-40B4-957F-AEFF9481D1FA}" destId="{A1C033ED-797D-49F0-A663-0EF56CABE9B7}" srcOrd="0" destOrd="0" presId="urn:microsoft.com/office/officeart/2008/layout/BendingPictureBlocks"/>
    <dgm:cxn modelId="{998526E0-1637-4EAE-AB62-C62E53E6BB2D}" type="presParOf" srcId="{C51C9290-F584-40B4-957F-AEFF9481D1FA}" destId="{4FB529C0-CB01-4A1A-849E-B92CDF58C7FF}" srcOrd="1" destOrd="0" presId="urn:microsoft.com/office/officeart/2008/layout/BendingPictureBlocks"/>
  </dgm:cxnLst>
  <dgm:bg/>
  <dgm:whole/>
  <dgm:extLst>
    <a:ext uri="http://schemas.microsoft.com/office/drawing/2008/diagram">
      <dsp:dataModelExt xmlns:dsp="http://schemas.microsoft.com/office/drawing/2008/diagram" relId="rId62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E4EEB783-744F-4B89-9E83-DAE1A17B3BCD}" type="doc">
      <dgm:prSet loTypeId="urn:microsoft.com/office/officeart/2008/layout/BendingPictureBlocks" loCatId="picture" qsTypeId="urn:microsoft.com/office/officeart/2005/8/quickstyle/simple1" qsCatId="simple" csTypeId="urn:microsoft.com/office/officeart/2005/8/colors/accent6_2" csCatId="accent6" phldr="1"/>
      <dgm:spPr/>
    </dgm:pt>
    <dgm:pt modelId="{C7E19854-EF29-4863-AA3A-9D57244E2B2F}">
      <dgm:prSet phldrT="[Texto]"/>
      <dgm:spPr>
        <a:solidFill>
          <a:srgbClr val="47D7AC"/>
        </a:solidFill>
      </dgm:spPr>
      <dgm:t>
        <a:bodyPr/>
        <a:lstStyle/>
        <a:p>
          <a:r>
            <a:rPr lang="pt-BR" dirty="0" err="1"/>
            <a:t>Fruits</a:t>
          </a:r>
          <a:r>
            <a:rPr lang="pt-BR" dirty="0"/>
            <a:t> and </a:t>
          </a:r>
          <a:r>
            <a:rPr lang="pt-BR" dirty="0" err="1"/>
            <a:t>vegetables</a:t>
          </a:r>
          <a:endParaRPr lang="pt-BR" dirty="0"/>
        </a:p>
      </dgm:t>
    </dgm:pt>
    <dgm:pt modelId="{76DE607B-0789-4F46-BA84-D76438A54B8D}" type="parTrans" cxnId="{CF3BA571-52CF-4CB2-9E01-1ABDF4F31D0E}">
      <dgm:prSet/>
      <dgm:spPr/>
      <dgm:t>
        <a:bodyPr/>
        <a:lstStyle/>
        <a:p>
          <a:endParaRPr lang="pt-BR"/>
        </a:p>
      </dgm:t>
    </dgm:pt>
    <dgm:pt modelId="{EFC47F06-6AE3-46F6-8330-59D057633E7C}" type="sibTrans" cxnId="{CF3BA571-52CF-4CB2-9E01-1ABDF4F31D0E}">
      <dgm:prSet/>
      <dgm:spPr/>
      <dgm:t>
        <a:bodyPr/>
        <a:lstStyle/>
        <a:p>
          <a:endParaRPr lang="pt-BR"/>
        </a:p>
      </dgm:t>
    </dgm:pt>
    <dgm:pt modelId="{65A103B4-C3BE-4C04-B35B-8C877EDC76CA}" type="pres">
      <dgm:prSet presAssocID="{E4EEB783-744F-4B89-9E83-DAE1A17B3BCD}" presName="Name0" presStyleCnt="0">
        <dgm:presLayoutVars>
          <dgm:dir/>
          <dgm:resizeHandles/>
        </dgm:presLayoutVars>
      </dgm:prSet>
      <dgm:spPr/>
    </dgm:pt>
    <dgm:pt modelId="{C51C9290-F584-40B4-957F-AEFF9481D1FA}" type="pres">
      <dgm:prSet presAssocID="{C7E19854-EF29-4863-AA3A-9D57244E2B2F}" presName="composite" presStyleCnt="0"/>
      <dgm:spPr/>
    </dgm:pt>
    <dgm:pt modelId="{A1C033ED-797D-49F0-A663-0EF56CABE9B7}" type="pres">
      <dgm:prSet presAssocID="{C7E19854-EF29-4863-AA3A-9D57244E2B2F}" presName="rect1" presStyleLbl="bgImgPlace1" presStyleIdx="0" presStyleCnt="1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3000" r="-13000"/>
          </a:stretch>
        </a:blipFill>
      </dgm:spPr>
    </dgm:pt>
    <dgm:pt modelId="{4FB529C0-CB01-4A1A-849E-B92CDF58C7FF}" type="pres">
      <dgm:prSet presAssocID="{C7E19854-EF29-4863-AA3A-9D57244E2B2F}" presName="rect2" presStyleLbl="node1" presStyleIdx="0" presStyleCnt="1">
        <dgm:presLayoutVars>
          <dgm:bulletEnabled val="1"/>
        </dgm:presLayoutVars>
      </dgm:prSet>
      <dgm:spPr/>
    </dgm:pt>
  </dgm:ptLst>
  <dgm:cxnLst>
    <dgm:cxn modelId="{1C0F6F0E-A35A-400C-888E-4698EF91FC14}" type="presOf" srcId="{C7E19854-EF29-4863-AA3A-9D57244E2B2F}" destId="{4FB529C0-CB01-4A1A-849E-B92CDF58C7FF}" srcOrd="0" destOrd="0" presId="urn:microsoft.com/office/officeart/2008/layout/BendingPictureBlocks"/>
    <dgm:cxn modelId="{9E433A4A-056C-48B1-A271-EAC80D148600}" type="presOf" srcId="{E4EEB783-744F-4B89-9E83-DAE1A17B3BCD}" destId="{65A103B4-C3BE-4C04-B35B-8C877EDC76CA}" srcOrd="0" destOrd="0" presId="urn:microsoft.com/office/officeart/2008/layout/BendingPictureBlocks"/>
    <dgm:cxn modelId="{CF3BA571-52CF-4CB2-9E01-1ABDF4F31D0E}" srcId="{E4EEB783-744F-4B89-9E83-DAE1A17B3BCD}" destId="{C7E19854-EF29-4863-AA3A-9D57244E2B2F}" srcOrd="0" destOrd="0" parTransId="{76DE607B-0789-4F46-BA84-D76438A54B8D}" sibTransId="{EFC47F06-6AE3-46F6-8330-59D057633E7C}"/>
    <dgm:cxn modelId="{FD0744AA-1C59-4B64-86AD-B34C388C88B3}" type="presParOf" srcId="{65A103B4-C3BE-4C04-B35B-8C877EDC76CA}" destId="{C51C9290-F584-40B4-957F-AEFF9481D1FA}" srcOrd="0" destOrd="0" presId="urn:microsoft.com/office/officeart/2008/layout/BendingPictureBlocks"/>
    <dgm:cxn modelId="{79CC6433-9DD6-43CD-B393-329F5881B2DC}" type="presParOf" srcId="{C51C9290-F584-40B4-957F-AEFF9481D1FA}" destId="{A1C033ED-797D-49F0-A663-0EF56CABE9B7}" srcOrd="0" destOrd="0" presId="urn:microsoft.com/office/officeart/2008/layout/BendingPictureBlocks"/>
    <dgm:cxn modelId="{CB52CC25-15DF-4DC1-8FFF-058CE11447E4}" type="presParOf" srcId="{C51C9290-F584-40B4-957F-AEFF9481D1FA}" destId="{4FB529C0-CB01-4A1A-849E-B92CDF58C7FF}" srcOrd="1" destOrd="0" presId="urn:microsoft.com/office/officeart/2008/layout/BendingPictureBlocks"/>
  </dgm:cxnLst>
  <dgm:bg/>
  <dgm:whole/>
  <dgm:extLst>
    <a:ext uri="http://schemas.microsoft.com/office/drawing/2008/diagram">
      <dsp:dataModelExt xmlns:dsp="http://schemas.microsoft.com/office/drawing/2008/diagram" relId="rId67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E4EEB783-744F-4B89-9E83-DAE1A17B3BCD}" type="doc">
      <dgm:prSet loTypeId="urn:microsoft.com/office/officeart/2008/layout/BendingPictureBlocks" loCatId="picture" qsTypeId="urn:microsoft.com/office/officeart/2005/8/quickstyle/simple1" qsCatId="simple" csTypeId="urn:microsoft.com/office/officeart/2005/8/colors/accent6_2" csCatId="accent6" phldr="1"/>
      <dgm:spPr/>
    </dgm:pt>
    <dgm:pt modelId="{C7E19854-EF29-4863-AA3A-9D57244E2B2F}">
      <dgm:prSet phldrT="[Texto]"/>
      <dgm:spPr>
        <a:solidFill>
          <a:srgbClr val="47D7AC"/>
        </a:solidFill>
      </dgm:spPr>
      <dgm:t>
        <a:bodyPr/>
        <a:lstStyle/>
        <a:p>
          <a:r>
            <a:rPr lang="pt-BR" dirty="0" err="1"/>
            <a:t>Beans</a:t>
          </a:r>
          <a:endParaRPr lang="pt-BR" dirty="0"/>
        </a:p>
      </dgm:t>
    </dgm:pt>
    <dgm:pt modelId="{76DE607B-0789-4F46-BA84-D76438A54B8D}" type="parTrans" cxnId="{CF3BA571-52CF-4CB2-9E01-1ABDF4F31D0E}">
      <dgm:prSet/>
      <dgm:spPr/>
      <dgm:t>
        <a:bodyPr/>
        <a:lstStyle/>
        <a:p>
          <a:endParaRPr lang="pt-BR"/>
        </a:p>
      </dgm:t>
    </dgm:pt>
    <dgm:pt modelId="{EFC47F06-6AE3-46F6-8330-59D057633E7C}" type="sibTrans" cxnId="{CF3BA571-52CF-4CB2-9E01-1ABDF4F31D0E}">
      <dgm:prSet/>
      <dgm:spPr/>
      <dgm:t>
        <a:bodyPr/>
        <a:lstStyle/>
        <a:p>
          <a:endParaRPr lang="pt-BR"/>
        </a:p>
      </dgm:t>
    </dgm:pt>
    <dgm:pt modelId="{65A103B4-C3BE-4C04-B35B-8C877EDC76CA}" type="pres">
      <dgm:prSet presAssocID="{E4EEB783-744F-4B89-9E83-DAE1A17B3BCD}" presName="Name0" presStyleCnt="0">
        <dgm:presLayoutVars>
          <dgm:dir/>
          <dgm:resizeHandles/>
        </dgm:presLayoutVars>
      </dgm:prSet>
      <dgm:spPr/>
    </dgm:pt>
    <dgm:pt modelId="{C51C9290-F584-40B4-957F-AEFF9481D1FA}" type="pres">
      <dgm:prSet presAssocID="{C7E19854-EF29-4863-AA3A-9D57244E2B2F}" presName="composite" presStyleCnt="0"/>
      <dgm:spPr/>
    </dgm:pt>
    <dgm:pt modelId="{A1C033ED-797D-49F0-A663-0EF56CABE9B7}" type="pres">
      <dgm:prSet presAssocID="{C7E19854-EF29-4863-AA3A-9D57244E2B2F}" presName="rect1" presStyleLbl="bgImgPlace1" presStyleIdx="0" presStyleCnt="1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000" r="-6000"/>
          </a:stretch>
        </a:blipFill>
      </dgm:spPr>
    </dgm:pt>
    <dgm:pt modelId="{4FB529C0-CB01-4A1A-849E-B92CDF58C7FF}" type="pres">
      <dgm:prSet presAssocID="{C7E19854-EF29-4863-AA3A-9D57244E2B2F}" presName="rect2" presStyleLbl="node1" presStyleIdx="0" presStyleCnt="1">
        <dgm:presLayoutVars>
          <dgm:bulletEnabled val="1"/>
        </dgm:presLayoutVars>
      </dgm:prSet>
      <dgm:spPr/>
    </dgm:pt>
  </dgm:ptLst>
  <dgm:cxnLst>
    <dgm:cxn modelId="{CF3BA571-52CF-4CB2-9E01-1ABDF4F31D0E}" srcId="{E4EEB783-744F-4B89-9E83-DAE1A17B3BCD}" destId="{C7E19854-EF29-4863-AA3A-9D57244E2B2F}" srcOrd="0" destOrd="0" parTransId="{76DE607B-0789-4F46-BA84-D76438A54B8D}" sibTransId="{EFC47F06-6AE3-46F6-8330-59D057633E7C}"/>
    <dgm:cxn modelId="{20E138AD-8F80-4EDD-A063-D07401AFB81D}" type="presOf" srcId="{C7E19854-EF29-4863-AA3A-9D57244E2B2F}" destId="{4FB529C0-CB01-4A1A-849E-B92CDF58C7FF}" srcOrd="0" destOrd="0" presId="urn:microsoft.com/office/officeart/2008/layout/BendingPictureBlocks"/>
    <dgm:cxn modelId="{587E38D0-5406-47EB-AF56-B153BEFE4197}" type="presOf" srcId="{E4EEB783-744F-4B89-9E83-DAE1A17B3BCD}" destId="{65A103B4-C3BE-4C04-B35B-8C877EDC76CA}" srcOrd="0" destOrd="0" presId="urn:microsoft.com/office/officeart/2008/layout/BendingPictureBlocks"/>
    <dgm:cxn modelId="{9A2FB260-DC35-41DA-8C9B-3C3B3AEE09A4}" type="presParOf" srcId="{65A103B4-C3BE-4C04-B35B-8C877EDC76CA}" destId="{C51C9290-F584-40B4-957F-AEFF9481D1FA}" srcOrd="0" destOrd="0" presId="urn:microsoft.com/office/officeart/2008/layout/BendingPictureBlocks"/>
    <dgm:cxn modelId="{0560D1FB-9EBC-40BE-9EF6-2C2CCBBD93F2}" type="presParOf" srcId="{C51C9290-F584-40B4-957F-AEFF9481D1FA}" destId="{A1C033ED-797D-49F0-A663-0EF56CABE9B7}" srcOrd="0" destOrd="0" presId="urn:microsoft.com/office/officeart/2008/layout/BendingPictureBlocks"/>
    <dgm:cxn modelId="{D6A7D31F-D7E9-400D-A283-AD372C7BCC0C}" type="presParOf" srcId="{C51C9290-F584-40B4-957F-AEFF9481D1FA}" destId="{4FB529C0-CB01-4A1A-849E-B92CDF58C7FF}" srcOrd="1" destOrd="0" presId="urn:microsoft.com/office/officeart/2008/layout/BendingPictureBlocks"/>
  </dgm:cxnLst>
  <dgm:bg/>
  <dgm:whole/>
  <dgm:extLst>
    <a:ext uri="http://schemas.microsoft.com/office/drawing/2008/diagram">
      <dsp:dataModelExt xmlns:dsp="http://schemas.microsoft.com/office/drawing/2008/diagram" relId="rId72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E4EEB783-744F-4B89-9E83-DAE1A17B3BCD}" type="doc">
      <dgm:prSet loTypeId="urn:microsoft.com/office/officeart/2008/layout/BendingPictureBlocks" loCatId="picture" qsTypeId="urn:microsoft.com/office/officeart/2005/8/quickstyle/simple1" qsCatId="simple" csTypeId="urn:microsoft.com/office/officeart/2005/8/colors/accent6_2" csCatId="accent6" phldr="1"/>
      <dgm:spPr/>
    </dgm:pt>
    <dgm:pt modelId="{C7E19854-EF29-4863-AA3A-9D57244E2B2F}">
      <dgm:prSet phldrT="[Texto]"/>
      <dgm:spPr>
        <a:solidFill>
          <a:srgbClr val="47D7AC"/>
        </a:solidFill>
      </dgm:spPr>
      <dgm:t>
        <a:bodyPr/>
        <a:lstStyle/>
        <a:p>
          <a:r>
            <a:rPr lang="pt-BR" dirty="0"/>
            <a:t>Feed</a:t>
          </a:r>
        </a:p>
      </dgm:t>
    </dgm:pt>
    <dgm:pt modelId="{76DE607B-0789-4F46-BA84-D76438A54B8D}" type="parTrans" cxnId="{CF3BA571-52CF-4CB2-9E01-1ABDF4F31D0E}">
      <dgm:prSet/>
      <dgm:spPr/>
      <dgm:t>
        <a:bodyPr/>
        <a:lstStyle/>
        <a:p>
          <a:endParaRPr lang="pt-BR"/>
        </a:p>
      </dgm:t>
    </dgm:pt>
    <dgm:pt modelId="{EFC47F06-6AE3-46F6-8330-59D057633E7C}" type="sibTrans" cxnId="{CF3BA571-52CF-4CB2-9E01-1ABDF4F31D0E}">
      <dgm:prSet/>
      <dgm:spPr/>
      <dgm:t>
        <a:bodyPr/>
        <a:lstStyle/>
        <a:p>
          <a:endParaRPr lang="pt-BR"/>
        </a:p>
      </dgm:t>
    </dgm:pt>
    <dgm:pt modelId="{65A103B4-C3BE-4C04-B35B-8C877EDC76CA}" type="pres">
      <dgm:prSet presAssocID="{E4EEB783-744F-4B89-9E83-DAE1A17B3BCD}" presName="Name0" presStyleCnt="0">
        <dgm:presLayoutVars>
          <dgm:dir/>
          <dgm:resizeHandles/>
        </dgm:presLayoutVars>
      </dgm:prSet>
      <dgm:spPr/>
    </dgm:pt>
    <dgm:pt modelId="{C51C9290-F584-40B4-957F-AEFF9481D1FA}" type="pres">
      <dgm:prSet presAssocID="{C7E19854-EF29-4863-AA3A-9D57244E2B2F}" presName="composite" presStyleCnt="0"/>
      <dgm:spPr/>
    </dgm:pt>
    <dgm:pt modelId="{A1C033ED-797D-49F0-A663-0EF56CABE9B7}" type="pres">
      <dgm:prSet presAssocID="{C7E19854-EF29-4863-AA3A-9D57244E2B2F}" presName="rect1" presStyleLbl="bgImgPlace1" presStyleIdx="0" presStyleCnt="1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9000" r="-9000"/>
          </a:stretch>
        </a:blipFill>
      </dgm:spPr>
    </dgm:pt>
    <dgm:pt modelId="{4FB529C0-CB01-4A1A-849E-B92CDF58C7FF}" type="pres">
      <dgm:prSet presAssocID="{C7E19854-EF29-4863-AA3A-9D57244E2B2F}" presName="rect2" presStyleLbl="node1" presStyleIdx="0" presStyleCnt="1">
        <dgm:presLayoutVars>
          <dgm:bulletEnabled val="1"/>
        </dgm:presLayoutVars>
      </dgm:prSet>
      <dgm:spPr/>
    </dgm:pt>
  </dgm:ptLst>
  <dgm:cxnLst>
    <dgm:cxn modelId="{790BA316-9EA6-4134-B0C2-94A5DD025223}" type="presOf" srcId="{C7E19854-EF29-4863-AA3A-9D57244E2B2F}" destId="{4FB529C0-CB01-4A1A-849E-B92CDF58C7FF}" srcOrd="0" destOrd="0" presId="urn:microsoft.com/office/officeart/2008/layout/BendingPictureBlocks"/>
    <dgm:cxn modelId="{82BFBF1C-4E5D-4910-B83A-84B23C691FCE}" type="presOf" srcId="{E4EEB783-744F-4B89-9E83-DAE1A17B3BCD}" destId="{65A103B4-C3BE-4C04-B35B-8C877EDC76CA}" srcOrd="0" destOrd="0" presId="urn:microsoft.com/office/officeart/2008/layout/BendingPictureBlocks"/>
    <dgm:cxn modelId="{CF3BA571-52CF-4CB2-9E01-1ABDF4F31D0E}" srcId="{E4EEB783-744F-4B89-9E83-DAE1A17B3BCD}" destId="{C7E19854-EF29-4863-AA3A-9D57244E2B2F}" srcOrd="0" destOrd="0" parTransId="{76DE607B-0789-4F46-BA84-D76438A54B8D}" sibTransId="{EFC47F06-6AE3-46F6-8330-59D057633E7C}"/>
    <dgm:cxn modelId="{31A01B2F-11DE-49EF-A7CB-C9A20B9530B9}" type="presParOf" srcId="{65A103B4-C3BE-4C04-B35B-8C877EDC76CA}" destId="{C51C9290-F584-40B4-957F-AEFF9481D1FA}" srcOrd="0" destOrd="0" presId="urn:microsoft.com/office/officeart/2008/layout/BendingPictureBlocks"/>
    <dgm:cxn modelId="{7C71D0B9-E709-48DB-A361-4B7D5CEC8082}" type="presParOf" srcId="{C51C9290-F584-40B4-957F-AEFF9481D1FA}" destId="{A1C033ED-797D-49F0-A663-0EF56CABE9B7}" srcOrd="0" destOrd="0" presId="urn:microsoft.com/office/officeart/2008/layout/BendingPictureBlocks"/>
    <dgm:cxn modelId="{ECD96F74-599F-4FAA-B2F4-4644C497CE71}" type="presParOf" srcId="{C51C9290-F584-40B4-957F-AEFF9481D1FA}" destId="{4FB529C0-CB01-4A1A-849E-B92CDF58C7FF}" srcOrd="1" destOrd="0" presId="urn:microsoft.com/office/officeart/2008/layout/BendingPictureBlocks"/>
  </dgm:cxnLst>
  <dgm:bg/>
  <dgm:whole/>
  <dgm:extLst>
    <a:ext uri="http://schemas.microsoft.com/office/drawing/2008/diagram">
      <dsp:dataModelExt xmlns:dsp="http://schemas.microsoft.com/office/drawing/2008/diagram" relId="rId77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E4EEB783-744F-4B89-9E83-DAE1A17B3BCD}" type="doc">
      <dgm:prSet loTypeId="urn:microsoft.com/office/officeart/2008/layout/BendingPictureBlocks" loCatId="picture" qsTypeId="urn:microsoft.com/office/officeart/2005/8/quickstyle/simple1" qsCatId="simple" csTypeId="urn:microsoft.com/office/officeart/2005/8/colors/accent6_2" csCatId="accent6" phldr="1"/>
      <dgm:spPr/>
    </dgm:pt>
    <dgm:pt modelId="{C7E19854-EF29-4863-AA3A-9D57244E2B2F}">
      <dgm:prSet phldrT="[Texto]"/>
      <dgm:spPr>
        <a:solidFill>
          <a:srgbClr val="47D7AC"/>
        </a:solidFill>
      </dgm:spPr>
      <dgm:t>
        <a:bodyPr/>
        <a:lstStyle/>
        <a:p>
          <a:r>
            <a:rPr lang="pt-BR" dirty="0"/>
            <a:t>Sugar </a:t>
          </a:r>
          <a:r>
            <a:rPr lang="pt-BR" dirty="0" err="1"/>
            <a:t>cane</a:t>
          </a:r>
          <a:endParaRPr lang="pt-BR" dirty="0"/>
        </a:p>
      </dgm:t>
    </dgm:pt>
    <dgm:pt modelId="{76DE607B-0789-4F46-BA84-D76438A54B8D}" type="parTrans" cxnId="{CF3BA571-52CF-4CB2-9E01-1ABDF4F31D0E}">
      <dgm:prSet/>
      <dgm:spPr/>
      <dgm:t>
        <a:bodyPr/>
        <a:lstStyle/>
        <a:p>
          <a:endParaRPr lang="pt-BR"/>
        </a:p>
      </dgm:t>
    </dgm:pt>
    <dgm:pt modelId="{EFC47F06-6AE3-46F6-8330-59D057633E7C}" type="sibTrans" cxnId="{CF3BA571-52CF-4CB2-9E01-1ABDF4F31D0E}">
      <dgm:prSet/>
      <dgm:spPr/>
      <dgm:t>
        <a:bodyPr/>
        <a:lstStyle/>
        <a:p>
          <a:endParaRPr lang="pt-BR"/>
        </a:p>
      </dgm:t>
    </dgm:pt>
    <dgm:pt modelId="{65A103B4-C3BE-4C04-B35B-8C877EDC76CA}" type="pres">
      <dgm:prSet presAssocID="{E4EEB783-744F-4B89-9E83-DAE1A17B3BCD}" presName="Name0" presStyleCnt="0">
        <dgm:presLayoutVars>
          <dgm:dir/>
          <dgm:resizeHandles/>
        </dgm:presLayoutVars>
      </dgm:prSet>
      <dgm:spPr/>
    </dgm:pt>
    <dgm:pt modelId="{C51C9290-F584-40B4-957F-AEFF9481D1FA}" type="pres">
      <dgm:prSet presAssocID="{C7E19854-EF29-4863-AA3A-9D57244E2B2F}" presName="composite" presStyleCnt="0"/>
      <dgm:spPr/>
    </dgm:pt>
    <dgm:pt modelId="{A1C033ED-797D-49F0-A663-0EF56CABE9B7}" type="pres">
      <dgm:prSet presAssocID="{C7E19854-EF29-4863-AA3A-9D57244E2B2F}" presName="rect1" presStyleLbl="bgImgPlace1" presStyleIdx="0" presStyleCnt="1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</dgm:spPr>
    </dgm:pt>
    <dgm:pt modelId="{4FB529C0-CB01-4A1A-849E-B92CDF58C7FF}" type="pres">
      <dgm:prSet presAssocID="{C7E19854-EF29-4863-AA3A-9D57244E2B2F}" presName="rect2" presStyleLbl="node1" presStyleIdx="0" presStyleCnt="1">
        <dgm:presLayoutVars>
          <dgm:bulletEnabled val="1"/>
        </dgm:presLayoutVars>
      </dgm:prSet>
      <dgm:spPr/>
    </dgm:pt>
  </dgm:ptLst>
  <dgm:cxnLst>
    <dgm:cxn modelId="{74DD011A-9A10-4E13-8AB4-C2C52BD80940}" type="presOf" srcId="{C7E19854-EF29-4863-AA3A-9D57244E2B2F}" destId="{4FB529C0-CB01-4A1A-849E-B92CDF58C7FF}" srcOrd="0" destOrd="0" presId="urn:microsoft.com/office/officeart/2008/layout/BendingPictureBlocks"/>
    <dgm:cxn modelId="{05B04D2E-5A40-4BC3-BBB3-C0F91329543D}" type="presOf" srcId="{E4EEB783-744F-4B89-9E83-DAE1A17B3BCD}" destId="{65A103B4-C3BE-4C04-B35B-8C877EDC76CA}" srcOrd="0" destOrd="0" presId="urn:microsoft.com/office/officeart/2008/layout/BendingPictureBlocks"/>
    <dgm:cxn modelId="{CF3BA571-52CF-4CB2-9E01-1ABDF4F31D0E}" srcId="{E4EEB783-744F-4B89-9E83-DAE1A17B3BCD}" destId="{C7E19854-EF29-4863-AA3A-9D57244E2B2F}" srcOrd="0" destOrd="0" parTransId="{76DE607B-0789-4F46-BA84-D76438A54B8D}" sibTransId="{EFC47F06-6AE3-46F6-8330-59D057633E7C}"/>
    <dgm:cxn modelId="{57A30E35-A32F-4EAC-8810-500C4F7CEBA8}" type="presParOf" srcId="{65A103B4-C3BE-4C04-B35B-8C877EDC76CA}" destId="{C51C9290-F584-40B4-957F-AEFF9481D1FA}" srcOrd="0" destOrd="0" presId="urn:microsoft.com/office/officeart/2008/layout/BendingPictureBlocks"/>
    <dgm:cxn modelId="{68B38A26-F6E0-4108-824A-B0E46AFAC439}" type="presParOf" srcId="{C51C9290-F584-40B4-957F-AEFF9481D1FA}" destId="{A1C033ED-797D-49F0-A663-0EF56CABE9B7}" srcOrd="0" destOrd="0" presId="urn:microsoft.com/office/officeart/2008/layout/BendingPictureBlocks"/>
    <dgm:cxn modelId="{4B91C631-3FE4-4C0F-A95A-F30D635036C9}" type="presParOf" srcId="{C51C9290-F584-40B4-957F-AEFF9481D1FA}" destId="{4FB529C0-CB01-4A1A-849E-B92CDF58C7FF}" srcOrd="1" destOrd="0" presId="urn:microsoft.com/office/officeart/2008/layout/BendingPictureBlocks"/>
  </dgm:cxnLst>
  <dgm:bg/>
  <dgm:whole/>
  <dgm:extLst>
    <a:ext uri="http://schemas.microsoft.com/office/drawing/2008/diagram">
      <dsp:dataModelExt xmlns:dsp="http://schemas.microsoft.com/office/drawing/2008/diagram" relId="rId82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4EEB783-744F-4B89-9E83-DAE1A17B3BCD}" type="doc">
      <dgm:prSet loTypeId="urn:microsoft.com/office/officeart/2008/layout/BendingPictureBlocks" loCatId="picture" qsTypeId="urn:microsoft.com/office/officeart/2005/8/quickstyle/simple1" qsCatId="simple" csTypeId="urn:microsoft.com/office/officeart/2005/8/colors/accent6_2" csCatId="accent6" phldr="1"/>
      <dgm:spPr/>
    </dgm:pt>
    <dgm:pt modelId="{C7E19854-EF29-4863-AA3A-9D57244E2B2F}">
      <dgm:prSet phldrT="[Texto]"/>
      <dgm:spPr>
        <a:solidFill>
          <a:srgbClr val="47D7AC"/>
        </a:solidFill>
      </dgm:spPr>
      <dgm:t>
        <a:bodyPr/>
        <a:lstStyle/>
        <a:p>
          <a:r>
            <a:rPr lang="pt-BR" dirty="0" err="1"/>
            <a:t>Corn</a:t>
          </a:r>
          <a:endParaRPr lang="pt-BR" dirty="0"/>
        </a:p>
      </dgm:t>
    </dgm:pt>
    <dgm:pt modelId="{76DE607B-0789-4F46-BA84-D76438A54B8D}" type="parTrans" cxnId="{CF3BA571-52CF-4CB2-9E01-1ABDF4F31D0E}">
      <dgm:prSet/>
      <dgm:spPr/>
      <dgm:t>
        <a:bodyPr/>
        <a:lstStyle/>
        <a:p>
          <a:endParaRPr lang="pt-BR"/>
        </a:p>
      </dgm:t>
    </dgm:pt>
    <dgm:pt modelId="{EFC47F06-6AE3-46F6-8330-59D057633E7C}" type="sibTrans" cxnId="{CF3BA571-52CF-4CB2-9E01-1ABDF4F31D0E}">
      <dgm:prSet/>
      <dgm:spPr/>
      <dgm:t>
        <a:bodyPr/>
        <a:lstStyle/>
        <a:p>
          <a:endParaRPr lang="pt-BR"/>
        </a:p>
      </dgm:t>
    </dgm:pt>
    <dgm:pt modelId="{65A103B4-C3BE-4C04-B35B-8C877EDC76CA}" type="pres">
      <dgm:prSet presAssocID="{E4EEB783-744F-4B89-9E83-DAE1A17B3BCD}" presName="Name0" presStyleCnt="0">
        <dgm:presLayoutVars>
          <dgm:dir/>
          <dgm:resizeHandles/>
        </dgm:presLayoutVars>
      </dgm:prSet>
      <dgm:spPr/>
    </dgm:pt>
    <dgm:pt modelId="{C51C9290-F584-40B4-957F-AEFF9481D1FA}" type="pres">
      <dgm:prSet presAssocID="{C7E19854-EF29-4863-AA3A-9D57244E2B2F}" presName="composite" presStyleCnt="0"/>
      <dgm:spPr/>
    </dgm:pt>
    <dgm:pt modelId="{A1C033ED-797D-49F0-A663-0EF56CABE9B7}" type="pres">
      <dgm:prSet presAssocID="{C7E19854-EF29-4863-AA3A-9D57244E2B2F}" presName="rect1" presStyleLbl="bgImgPlace1" presStyleIdx="0" presStyleCnt="1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000" r="-6000"/>
          </a:stretch>
        </a:blipFill>
      </dgm:spPr>
    </dgm:pt>
    <dgm:pt modelId="{4FB529C0-CB01-4A1A-849E-B92CDF58C7FF}" type="pres">
      <dgm:prSet presAssocID="{C7E19854-EF29-4863-AA3A-9D57244E2B2F}" presName="rect2" presStyleLbl="node1" presStyleIdx="0" presStyleCnt="1">
        <dgm:presLayoutVars>
          <dgm:bulletEnabled val="1"/>
        </dgm:presLayoutVars>
      </dgm:prSet>
      <dgm:spPr/>
    </dgm:pt>
  </dgm:ptLst>
  <dgm:cxnLst>
    <dgm:cxn modelId="{BA18BC18-80B2-4EAB-8FBF-DA75BC6F3DBC}" type="presOf" srcId="{C7E19854-EF29-4863-AA3A-9D57244E2B2F}" destId="{4FB529C0-CB01-4A1A-849E-B92CDF58C7FF}" srcOrd="0" destOrd="0" presId="urn:microsoft.com/office/officeart/2008/layout/BendingPictureBlocks"/>
    <dgm:cxn modelId="{CF3BA571-52CF-4CB2-9E01-1ABDF4F31D0E}" srcId="{E4EEB783-744F-4B89-9E83-DAE1A17B3BCD}" destId="{C7E19854-EF29-4863-AA3A-9D57244E2B2F}" srcOrd="0" destOrd="0" parTransId="{76DE607B-0789-4F46-BA84-D76438A54B8D}" sibTransId="{EFC47F06-6AE3-46F6-8330-59D057633E7C}"/>
    <dgm:cxn modelId="{2262F3EF-9F2F-4AAE-9263-E6C17482C47B}" type="presOf" srcId="{E4EEB783-744F-4B89-9E83-DAE1A17B3BCD}" destId="{65A103B4-C3BE-4C04-B35B-8C877EDC76CA}" srcOrd="0" destOrd="0" presId="urn:microsoft.com/office/officeart/2008/layout/BendingPictureBlocks"/>
    <dgm:cxn modelId="{B9943C92-12D7-4F9E-AEF0-91B43B53E9BC}" type="presParOf" srcId="{65A103B4-C3BE-4C04-B35B-8C877EDC76CA}" destId="{C51C9290-F584-40B4-957F-AEFF9481D1FA}" srcOrd="0" destOrd="0" presId="urn:microsoft.com/office/officeart/2008/layout/BendingPictureBlocks"/>
    <dgm:cxn modelId="{B7C4A8DC-72FC-4863-8654-12399F3C20A0}" type="presParOf" srcId="{C51C9290-F584-40B4-957F-AEFF9481D1FA}" destId="{A1C033ED-797D-49F0-A663-0EF56CABE9B7}" srcOrd="0" destOrd="0" presId="urn:microsoft.com/office/officeart/2008/layout/BendingPictureBlocks"/>
    <dgm:cxn modelId="{AC0BACFC-F64D-4C56-A487-C6B6B769586F}" type="presParOf" srcId="{C51C9290-F584-40B4-957F-AEFF9481D1FA}" destId="{4FB529C0-CB01-4A1A-849E-B92CDF58C7FF}" srcOrd="1" destOrd="0" presId="urn:microsoft.com/office/officeart/2008/layout/BendingPictureBlocks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4EEB783-744F-4B89-9E83-DAE1A17B3BCD}" type="doc">
      <dgm:prSet loTypeId="urn:microsoft.com/office/officeart/2008/layout/BendingPictureBlocks" loCatId="picture" qsTypeId="urn:microsoft.com/office/officeart/2005/8/quickstyle/simple1" qsCatId="simple" csTypeId="urn:microsoft.com/office/officeart/2005/8/colors/accent6_2" csCatId="accent6" phldr="1"/>
      <dgm:spPr/>
    </dgm:pt>
    <dgm:pt modelId="{C7E19854-EF29-4863-AA3A-9D57244E2B2F}">
      <dgm:prSet phldrT="[Texto]"/>
      <dgm:spPr>
        <a:solidFill>
          <a:srgbClr val="47D7AC"/>
        </a:solidFill>
      </dgm:spPr>
      <dgm:t>
        <a:bodyPr/>
        <a:lstStyle/>
        <a:p>
          <a:r>
            <a:rPr lang="pt-BR" dirty="0" err="1"/>
            <a:t>Wheat</a:t>
          </a:r>
          <a:endParaRPr lang="pt-BR" dirty="0"/>
        </a:p>
      </dgm:t>
    </dgm:pt>
    <dgm:pt modelId="{76DE607B-0789-4F46-BA84-D76438A54B8D}" type="parTrans" cxnId="{CF3BA571-52CF-4CB2-9E01-1ABDF4F31D0E}">
      <dgm:prSet/>
      <dgm:spPr/>
      <dgm:t>
        <a:bodyPr/>
        <a:lstStyle/>
        <a:p>
          <a:endParaRPr lang="pt-BR"/>
        </a:p>
      </dgm:t>
    </dgm:pt>
    <dgm:pt modelId="{EFC47F06-6AE3-46F6-8330-59D057633E7C}" type="sibTrans" cxnId="{CF3BA571-52CF-4CB2-9E01-1ABDF4F31D0E}">
      <dgm:prSet/>
      <dgm:spPr/>
      <dgm:t>
        <a:bodyPr/>
        <a:lstStyle/>
        <a:p>
          <a:endParaRPr lang="pt-BR"/>
        </a:p>
      </dgm:t>
    </dgm:pt>
    <dgm:pt modelId="{65A103B4-C3BE-4C04-B35B-8C877EDC76CA}" type="pres">
      <dgm:prSet presAssocID="{E4EEB783-744F-4B89-9E83-DAE1A17B3BCD}" presName="Name0" presStyleCnt="0">
        <dgm:presLayoutVars>
          <dgm:dir/>
          <dgm:resizeHandles/>
        </dgm:presLayoutVars>
      </dgm:prSet>
      <dgm:spPr/>
    </dgm:pt>
    <dgm:pt modelId="{C51C9290-F584-40B4-957F-AEFF9481D1FA}" type="pres">
      <dgm:prSet presAssocID="{C7E19854-EF29-4863-AA3A-9D57244E2B2F}" presName="composite" presStyleCnt="0"/>
      <dgm:spPr/>
    </dgm:pt>
    <dgm:pt modelId="{A1C033ED-797D-49F0-A663-0EF56CABE9B7}" type="pres">
      <dgm:prSet presAssocID="{C7E19854-EF29-4863-AA3A-9D57244E2B2F}" presName="rect1" presStyleLbl="bgImgPlace1" presStyleIdx="0" presStyleCnt="1" custFlipHor="1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9000" b="-9000"/>
          </a:stretch>
        </a:blipFill>
      </dgm:spPr>
    </dgm:pt>
    <dgm:pt modelId="{4FB529C0-CB01-4A1A-849E-B92CDF58C7FF}" type="pres">
      <dgm:prSet presAssocID="{C7E19854-EF29-4863-AA3A-9D57244E2B2F}" presName="rect2" presStyleLbl="node1" presStyleIdx="0" presStyleCnt="1">
        <dgm:presLayoutVars>
          <dgm:bulletEnabled val="1"/>
        </dgm:presLayoutVars>
      </dgm:prSet>
      <dgm:spPr/>
    </dgm:pt>
  </dgm:ptLst>
  <dgm:cxnLst>
    <dgm:cxn modelId="{CF3BA571-52CF-4CB2-9E01-1ABDF4F31D0E}" srcId="{E4EEB783-744F-4B89-9E83-DAE1A17B3BCD}" destId="{C7E19854-EF29-4863-AA3A-9D57244E2B2F}" srcOrd="0" destOrd="0" parTransId="{76DE607B-0789-4F46-BA84-D76438A54B8D}" sibTransId="{EFC47F06-6AE3-46F6-8330-59D057633E7C}"/>
    <dgm:cxn modelId="{E87FE577-2030-4C1F-A7F4-F2F852CD0B2C}" type="presOf" srcId="{E4EEB783-744F-4B89-9E83-DAE1A17B3BCD}" destId="{65A103B4-C3BE-4C04-B35B-8C877EDC76CA}" srcOrd="0" destOrd="0" presId="urn:microsoft.com/office/officeart/2008/layout/BendingPictureBlocks"/>
    <dgm:cxn modelId="{C7B815D3-D364-464A-9E44-0FEAA99CA2A8}" type="presOf" srcId="{C7E19854-EF29-4863-AA3A-9D57244E2B2F}" destId="{4FB529C0-CB01-4A1A-849E-B92CDF58C7FF}" srcOrd="0" destOrd="0" presId="urn:microsoft.com/office/officeart/2008/layout/BendingPictureBlocks"/>
    <dgm:cxn modelId="{AE4741A1-F2D9-47A6-AB19-AE7B7A4EA6A1}" type="presParOf" srcId="{65A103B4-C3BE-4C04-B35B-8C877EDC76CA}" destId="{C51C9290-F584-40B4-957F-AEFF9481D1FA}" srcOrd="0" destOrd="0" presId="urn:microsoft.com/office/officeart/2008/layout/BendingPictureBlocks"/>
    <dgm:cxn modelId="{295CB08F-E85E-455E-9187-407D55160E0C}" type="presParOf" srcId="{C51C9290-F584-40B4-957F-AEFF9481D1FA}" destId="{A1C033ED-797D-49F0-A663-0EF56CABE9B7}" srcOrd="0" destOrd="0" presId="urn:microsoft.com/office/officeart/2008/layout/BendingPictureBlocks"/>
    <dgm:cxn modelId="{88FC0832-689F-41EB-9C44-D22415387F23}" type="presParOf" srcId="{C51C9290-F584-40B4-957F-AEFF9481D1FA}" destId="{4FB529C0-CB01-4A1A-849E-B92CDF58C7FF}" srcOrd="1" destOrd="0" presId="urn:microsoft.com/office/officeart/2008/layout/BendingPictureBlocks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4EEB783-744F-4B89-9E83-DAE1A17B3BCD}" type="doc">
      <dgm:prSet loTypeId="urn:microsoft.com/office/officeart/2008/layout/BendingPictureBlocks" loCatId="picture" qsTypeId="urn:microsoft.com/office/officeart/2005/8/quickstyle/simple1" qsCatId="simple" csTypeId="urn:microsoft.com/office/officeart/2005/8/colors/accent6_2" csCatId="accent6" phldr="1"/>
      <dgm:spPr/>
    </dgm:pt>
    <dgm:pt modelId="{C7E19854-EF29-4863-AA3A-9D57244E2B2F}">
      <dgm:prSet phldrT="[Texto]"/>
      <dgm:spPr>
        <a:solidFill>
          <a:srgbClr val="47D7AC"/>
        </a:solidFill>
      </dgm:spPr>
      <dgm:t>
        <a:bodyPr/>
        <a:lstStyle/>
        <a:p>
          <a:r>
            <a:rPr lang="pt-BR" dirty="0" err="1"/>
            <a:t>Barley</a:t>
          </a:r>
          <a:endParaRPr lang="pt-BR" dirty="0"/>
        </a:p>
      </dgm:t>
    </dgm:pt>
    <dgm:pt modelId="{76DE607B-0789-4F46-BA84-D76438A54B8D}" type="parTrans" cxnId="{CF3BA571-52CF-4CB2-9E01-1ABDF4F31D0E}">
      <dgm:prSet/>
      <dgm:spPr/>
      <dgm:t>
        <a:bodyPr/>
        <a:lstStyle/>
        <a:p>
          <a:endParaRPr lang="pt-BR"/>
        </a:p>
      </dgm:t>
    </dgm:pt>
    <dgm:pt modelId="{EFC47F06-6AE3-46F6-8330-59D057633E7C}" type="sibTrans" cxnId="{CF3BA571-52CF-4CB2-9E01-1ABDF4F31D0E}">
      <dgm:prSet/>
      <dgm:spPr/>
      <dgm:t>
        <a:bodyPr/>
        <a:lstStyle/>
        <a:p>
          <a:endParaRPr lang="pt-BR"/>
        </a:p>
      </dgm:t>
    </dgm:pt>
    <dgm:pt modelId="{65A103B4-C3BE-4C04-B35B-8C877EDC76CA}" type="pres">
      <dgm:prSet presAssocID="{E4EEB783-744F-4B89-9E83-DAE1A17B3BCD}" presName="Name0" presStyleCnt="0">
        <dgm:presLayoutVars>
          <dgm:dir/>
          <dgm:resizeHandles/>
        </dgm:presLayoutVars>
      </dgm:prSet>
      <dgm:spPr/>
    </dgm:pt>
    <dgm:pt modelId="{C51C9290-F584-40B4-957F-AEFF9481D1FA}" type="pres">
      <dgm:prSet presAssocID="{C7E19854-EF29-4863-AA3A-9D57244E2B2F}" presName="composite" presStyleCnt="0"/>
      <dgm:spPr/>
    </dgm:pt>
    <dgm:pt modelId="{A1C033ED-797D-49F0-A663-0EF56CABE9B7}" type="pres">
      <dgm:prSet presAssocID="{C7E19854-EF29-4863-AA3A-9D57244E2B2F}" presName="rect1" presStyleLbl="bgImgPlace1" presStyleIdx="0" presStyleCnt="1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9000" r="-19000"/>
          </a:stretch>
        </a:blipFill>
      </dgm:spPr>
    </dgm:pt>
    <dgm:pt modelId="{4FB529C0-CB01-4A1A-849E-B92CDF58C7FF}" type="pres">
      <dgm:prSet presAssocID="{C7E19854-EF29-4863-AA3A-9D57244E2B2F}" presName="rect2" presStyleLbl="node1" presStyleIdx="0" presStyleCnt="1">
        <dgm:presLayoutVars>
          <dgm:bulletEnabled val="1"/>
        </dgm:presLayoutVars>
      </dgm:prSet>
      <dgm:spPr/>
    </dgm:pt>
  </dgm:ptLst>
  <dgm:cxnLst>
    <dgm:cxn modelId="{CEE00047-973B-45E3-B076-ED7B50533429}" type="presOf" srcId="{C7E19854-EF29-4863-AA3A-9D57244E2B2F}" destId="{4FB529C0-CB01-4A1A-849E-B92CDF58C7FF}" srcOrd="0" destOrd="0" presId="urn:microsoft.com/office/officeart/2008/layout/BendingPictureBlocks"/>
    <dgm:cxn modelId="{CF3BA571-52CF-4CB2-9E01-1ABDF4F31D0E}" srcId="{E4EEB783-744F-4B89-9E83-DAE1A17B3BCD}" destId="{C7E19854-EF29-4863-AA3A-9D57244E2B2F}" srcOrd="0" destOrd="0" parTransId="{76DE607B-0789-4F46-BA84-D76438A54B8D}" sibTransId="{EFC47F06-6AE3-46F6-8330-59D057633E7C}"/>
    <dgm:cxn modelId="{46C4A886-8C7A-4905-BD67-F8A03A460542}" type="presOf" srcId="{E4EEB783-744F-4B89-9E83-DAE1A17B3BCD}" destId="{65A103B4-C3BE-4C04-B35B-8C877EDC76CA}" srcOrd="0" destOrd="0" presId="urn:microsoft.com/office/officeart/2008/layout/BendingPictureBlocks"/>
    <dgm:cxn modelId="{8B8084DC-2A6A-4604-B5C2-C49ADD9BCC87}" type="presParOf" srcId="{65A103B4-C3BE-4C04-B35B-8C877EDC76CA}" destId="{C51C9290-F584-40B4-957F-AEFF9481D1FA}" srcOrd="0" destOrd="0" presId="urn:microsoft.com/office/officeart/2008/layout/BendingPictureBlocks"/>
    <dgm:cxn modelId="{B2934466-04F2-47C5-BE69-FFBEA7477588}" type="presParOf" srcId="{C51C9290-F584-40B4-957F-AEFF9481D1FA}" destId="{A1C033ED-797D-49F0-A663-0EF56CABE9B7}" srcOrd="0" destOrd="0" presId="urn:microsoft.com/office/officeart/2008/layout/BendingPictureBlocks"/>
    <dgm:cxn modelId="{0FC21F2C-0F12-4050-A515-5C1D84A9B856}" type="presParOf" srcId="{C51C9290-F584-40B4-957F-AEFF9481D1FA}" destId="{4FB529C0-CB01-4A1A-849E-B92CDF58C7FF}" srcOrd="1" destOrd="0" presId="urn:microsoft.com/office/officeart/2008/layout/BendingPictureBlocks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4EEB783-744F-4B89-9E83-DAE1A17B3BCD}" type="doc">
      <dgm:prSet loTypeId="urn:microsoft.com/office/officeart/2008/layout/BendingPictureBlocks" loCatId="picture" qsTypeId="urn:microsoft.com/office/officeart/2005/8/quickstyle/simple1" qsCatId="simple" csTypeId="urn:microsoft.com/office/officeart/2005/8/colors/accent6_2" csCatId="accent6" phldr="1"/>
      <dgm:spPr/>
    </dgm:pt>
    <dgm:pt modelId="{C7E19854-EF29-4863-AA3A-9D57244E2B2F}">
      <dgm:prSet phldrT="[Texto]"/>
      <dgm:spPr>
        <a:solidFill>
          <a:srgbClr val="47D7AC"/>
        </a:solidFill>
      </dgm:spPr>
      <dgm:t>
        <a:bodyPr/>
        <a:lstStyle/>
        <a:p>
          <a:r>
            <a:rPr lang="pt-BR" dirty="0"/>
            <a:t>Rice</a:t>
          </a:r>
        </a:p>
      </dgm:t>
    </dgm:pt>
    <dgm:pt modelId="{76DE607B-0789-4F46-BA84-D76438A54B8D}" type="parTrans" cxnId="{CF3BA571-52CF-4CB2-9E01-1ABDF4F31D0E}">
      <dgm:prSet/>
      <dgm:spPr/>
      <dgm:t>
        <a:bodyPr/>
        <a:lstStyle/>
        <a:p>
          <a:endParaRPr lang="pt-BR"/>
        </a:p>
      </dgm:t>
    </dgm:pt>
    <dgm:pt modelId="{EFC47F06-6AE3-46F6-8330-59D057633E7C}" type="sibTrans" cxnId="{CF3BA571-52CF-4CB2-9E01-1ABDF4F31D0E}">
      <dgm:prSet/>
      <dgm:spPr/>
      <dgm:t>
        <a:bodyPr/>
        <a:lstStyle/>
        <a:p>
          <a:endParaRPr lang="pt-BR"/>
        </a:p>
      </dgm:t>
    </dgm:pt>
    <dgm:pt modelId="{65A103B4-C3BE-4C04-B35B-8C877EDC76CA}" type="pres">
      <dgm:prSet presAssocID="{E4EEB783-744F-4B89-9E83-DAE1A17B3BCD}" presName="Name0" presStyleCnt="0">
        <dgm:presLayoutVars>
          <dgm:dir/>
          <dgm:resizeHandles/>
        </dgm:presLayoutVars>
      </dgm:prSet>
      <dgm:spPr/>
    </dgm:pt>
    <dgm:pt modelId="{C51C9290-F584-40B4-957F-AEFF9481D1FA}" type="pres">
      <dgm:prSet presAssocID="{C7E19854-EF29-4863-AA3A-9D57244E2B2F}" presName="composite" presStyleCnt="0"/>
      <dgm:spPr/>
    </dgm:pt>
    <dgm:pt modelId="{A1C033ED-797D-49F0-A663-0EF56CABE9B7}" type="pres">
      <dgm:prSet presAssocID="{C7E19854-EF29-4863-AA3A-9D57244E2B2F}" presName="rect1" presStyleLbl="bgImgPlace1" presStyleIdx="0" presStyleCnt="1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1000" r="-31000"/>
          </a:stretch>
        </a:blipFill>
      </dgm:spPr>
    </dgm:pt>
    <dgm:pt modelId="{4FB529C0-CB01-4A1A-849E-B92CDF58C7FF}" type="pres">
      <dgm:prSet presAssocID="{C7E19854-EF29-4863-AA3A-9D57244E2B2F}" presName="rect2" presStyleLbl="node1" presStyleIdx="0" presStyleCnt="1">
        <dgm:presLayoutVars>
          <dgm:bulletEnabled val="1"/>
        </dgm:presLayoutVars>
      </dgm:prSet>
      <dgm:spPr/>
    </dgm:pt>
  </dgm:ptLst>
  <dgm:cxnLst>
    <dgm:cxn modelId="{6128A80B-43DD-438C-9612-C29C0EC5D0C4}" type="presOf" srcId="{C7E19854-EF29-4863-AA3A-9D57244E2B2F}" destId="{4FB529C0-CB01-4A1A-849E-B92CDF58C7FF}" srcOrd="0" destOrd="0" presId="urn:microsoft.com/office/officeart/2008/layout/BendingPictureBlocks"/>
    <dgm:cxn modelId="{CF3BA571-52CF-4CB2-9E01-1ABDF4F31D0E}" srcId="{E4EEB783-744F-4B89-9E83-DAE1A17B3BCD}" destId="{C7E19854-EF29-4863-AA3A-9D57244E2B2F}" srcOrd="0" destOrd="0" parTransId="{76DE607B-0789-4F46-BA84-D76438A54B8D}" sibTransId="{EFC47F06-6AE3-46F6-8330-59D057633E7C}"/>
    <dgm:cxn modelId="{DD70AED7-F8E6-4E3A-BCDF-C5AB2609F7DA}" type="presOf" srcId="{E4EEB783-744F-4B89-9E83-DAE1A17B3BCD}" destId="{65A103B4-C3BE-4C04-B35B-8C877EDC76CA}" srcOrd="0" destOrd="0" presId="urn:microsoft.com/office/officeart/2008/layout/BendingPictureBlocks"/>
    <dgm:cxn modelId="{5DC86976-3614-464E-8E96-E94B9EA8C6FC}" type="presParOf" srcId="{65A103B4-C3BE-4C04-B35B-8C877EDC76CA}" destId="{C51C9290-F584-40B4-957F-AEFF9481D1FA}" srcOrd="0" destOrd="0" presId="urn:microsoft.com/office/officeart/2008/layout/BendingPictureBlocks"/>
    <dgm:cxn modelId="{BF73D55B-40C5-46D1-A0B6-9DA3064D0EF7}" type="presParOf" srcId="{C51C9290-F584-40B4-957F-AEFF9481D1FA}" destId="{A1C033ED-797D-49F0-A663-0EF56CABE9B7}" srcOrd="0" destOrd="0" presId="urn:microsoft.com/office/officeart/2008/layout/BendingPictureBlocks"/>
    <dgm:cxn modelId="{6709DA6D-DBEE-4B18-A584-E45B56D82ACA}" type="presParOf" srcId="{C51C9290-F584-40B4-957F-AEFF9481D1FA}" destId="{4FB529C0-CB01-4A1A-849E-B92CDF58C7FF}" srcOrd="1" destOrd="0" presId="urn:microsoft.com/office/officeart/2008/layout/BendingPictureBlocks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E4EEB783-744F-4B89-9E83-DAE1A17B3BCD}" type="doc">
      <dgm:prSet loTypeId="urn:microsoft.com/office/officeart/2008/layout/BendingPictureBlocks" loCatId="picture" qsTypeId="urn:microsoft.com/office/officeart/2005/8/quickstyle/simple1" qsCatId="simple" csTypeId="urn:microsoft.com/office/officeart/2005/8/colors/accent6_2" csCatId="accent6" phldr="1"/>
      <dgm:spPr/>
    </dgm:pt>
    <dgm:pt modelId="{C7E19854-EF29-4863-AA3A-9D57244E2B2F}">
      <dgm:prSet phldrT="[Texto]"/>
      <dgm:spPr>
        <a:solidFill>
          <a:srgbClr val="47D7AC"/>
        </a:solidFill>
      </dgm:spPr>
      <dgm:t>
        <a:bodyPr/>
        <a:lstStyle/>
        <a:p>
          <a:r>
            <a:rPr lang="pt-BR" dirty="0" err="1"/>
            <a:t>Leaves</a:t>
          </a:r>
          <a:endParaRPr lang="pt-BR" dirty="0"/>
        </a:p>
      </dgm:t>
    </dgm:pt>
    <dgm:pt modelId="{76DE607B-0789-4F46-BA84-D76438A54B8D}" type="parTrans" cxnId="{CF3BA571-52CF-4CB2-9E01-1ABDF4F31D0E}">
      <dgm:prSet/>
      <dgm:spPr/>
      <dgm:t>
        <a:bodyPr/>
        <a:lstStyle/>
        <a:p>
          <a:endParaRPr lang="pt-BR"/>
        </a:p>
      </dgm:t>
    </dgm:pt>
    <dgm:pt modelId="{EFC47F06-6AE3-46F6-8330-59D057633E7C}" type="sibTrans" cxnId="{CF3BA571-52CF-4CB2-9E01-1ABDF4F31D0E}">
      <dgm:prSet/>
      <dgm:spPr/>
      <dgm:t>
        <a:bodyPr/>
        <a:lstStyle/>
        <a:p>
          <a:endParaRPr lang="pt-BR"/>
        </a:p>
      </dgm:t>
    </dgm:pt>
    <dgm:pt modelId="{65A103B4-C3BE-4C04-B35B-8C877EDC76CA}" type="pres">
      <dgm:prSet presAssocID="{E4EEB783-744F-4B89-9E83-DAE1A17B3BCD}" presName="Name0" presStyleCnt="0">
        <dgm:presLayoutVars>
          <dgm:dir/>
          <dgm:resizeHandles/>
        </dgm:presLayoutVars>
      </dgm:prSet>
      <dgm:spPr/>
    </dgm:pt>
    <dgm:pt modelId="{C51C9290-F584-40B4-957F-AEFF9481D1FA}" type="pres">
      <dgm:prSet presAssocID="{C7E19854-EF29-4863-AA3A-9D57244E2B2F}" presName="composite" presStyleCnt="0"/>
      <dgm:spPr/>
    </dgm:pt>
    <dgm:pt modelId="{A1C033ED-797D-49F0-A663-0EF56CABE9B7}" type="pres">
      <dgm:prSet presAssocID="{C7E19854-EF29-4863-AA3A-9D57244E2B2F}" presName="rect1" presStyleLbl="bgImgPlace1" presStyleIdx="0" presStyleCnt="1" custFlipHor="1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3000" r="-13000"/>
          </a:stretch>
        </a:blipFill>
      </dgm:spPr>
    </dgm:pt>
    <dgm:pt modelId="{4FB529C0-CB01-4A1A-849E-B92CDF58C7FF}" type="pres">
      <dgm:prSet presAssocID="{C7E19854-EF29-4863-AA3A-9D57244E2B2F}" presName="rect2" presStyleLbl="node1" presStyleIdx="0" presStyleCnt="1">
        <dgm:presLayoutVars>
          <dgm:bulletEnabled val="1"/>
        </dgm:presLayoutVars>
      </dgm:prSet>
      <dgm:spPr/>
    </dgm:pt>
  </dgm:ptLst>
  <dgm:cxnLst>
    <dgm:cxn modelId="{EEA2FE1E-8F5D-4D41-9649-3AF73C617B49}" type="presOf" srcId="{E4EEB783-744F-4B89-9E83-DAE1A17B3BCD}" destId="{65A103B4-C3BE-4C04-B35B-8C877EDC76CA}" srcOrd="0" destOrd="0" presId="urn:microsoft.com/office/officeart/2008/layout/BendingPictureBlocks"/>
    <dgm:cxn modelId="{CF3BA571-52CF-4CB2-9E01-1ABDF4F31D0E}" srcId="{E4EEB783-744F-4B89-9E83-DAE1A17B3BCD}" destId="{C7E19854-EF29-4863-AA3A-9D57244E2B2F}" srcOrd="0" destOrd="0" parTransId="{76DE607B-0789-4F46-BA84-D76438A54B8D}" sibTransId="{EFC47F06-6AE3-46F6-8330-59D057633E7C}"/>
    <dgm:cxn modelId="{355FD958-E3A5-44FA-96AE-2D6ECC1D2CB9}" type="presOf" srcId="{C7E19854-EF29-4863-AA3A-9D57244E2B2F}" destId="{4FB529C0-CB01-4A1A-849E-B92CDF58C7FF}" srcOrd="0" destOrd="0" presId="urn:microsoft.com/office/officeart/2008/layout/BendingPictureBlocks"/>
    <dgm:cxn modelId="{CF5102A2-2BFD-4E49-BE91-BE0B93A62705}" type="presParOf" srcId="{65A103B4-C3BE-4C04-B35B-8C877EDC76CA}" destId="{C51C9290-F584-40B4-957F-AEFF9481D1FA}" srcOrd="0" destOrd="0" presId="urn:microsoft.com/office/officeart/2008/layout/BendingPictureBlocks"/>
    <dgm:cxn modelId="{58C82189-6573-4DA7-8702-D2A1467A3DB6}" type="presParOf" srcId="{C51C9290-F584-40B4-957F-AEFF9481D1FA}" destId="{A1C033ED-797D-49F0-A663-0EF56CABE9B7}" srcOrd="0" destOrd="0" presId="urn:microsoft.com/office/officeart/2008/layout/BendingPictureBlocks"/>
    <dgm:cxn modelId="{D7380EA2-11FA-4892-BC6A-DDA07534A156}" type="presParOf" srcId="{C51C9290-F584-40B4-957F-AEFF9481D1FA}" destId="{4FB529C0-CB01-4A1A-849E-B92CDF58C7FF}" srcOrd="1" destOrd="0" presId="urn:microsoft.com/office/officeart/2008/layout/BendingPictureBlocks"/>
  </dgm:cxnLst>
  <dgm:bg/>
  <dgm:whole/>
  <dgm:extLst>
    <a:ext uri="http://schemas.microsoft.com/office/drawing/2008/diagram">
      <dsp:dataModelExt xmlns:dsp="http://schemas.microsoft.com/office/drawing/2008/diagram" relId="rId32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E4EEB783-744F-4B89-9E83-DAE1A17B3BCD}" type="doc">
      <dgm:prSet loTypeId="urn:microsoft.com/office/officeart/2008/layout/BendingPictureBlocks" loCatId="picture" qsTypeId="urn:microsoft.com/office/officeart/2005/8/quickstyle/simple1" qsCatId="simple" csTypeId="urn:microsoft.com/office/officeart/2005/8/colors/accent6_2" csCatId="accent6" phldr="1"/>
      <dgm:spPr/>
    </dgm:pt>
    <dgm:pt modelId="{C7E19854-EF29-4863-AA3A-9D57244E2B2F}">
      <dgm:prSet phldrT="[Texto]"/>
      <dgm:spPr>
        <a:solidFill>
          <a:srgbClr val="47D7AC"/>
        </a:solidFill>
      </dgm:spPr>
      <dgm:t>
        <a:bodyPr/>
        <a:lstStyle/>
        <a:p>
          <a:r>
            <a:rPr lang="pt-BR" dirty="0" err="1"/>
            <a:t>Seedlings</a:t>
          </a:r>
          <a:endParaRPr lang="pt-BR" dirty="0"/>
        </a:p>
      </dgm:t>
    </dgm:pt>
    <dgm:pt modelId="{76DE607B-0789-4F46-BA84-D76438A54B8D}" type="parTrans" cxnId="{CF3BA571-52CF-4CB2-9E01-1ABDF4F31D0E}">
      <dgm:prSet/>
      <dgm:spPr/>
      <dgm:t>
        <a:bodyPr/>
        <a:lstStyle/>
        <a:p>
          <a:endParaRPr lang="pt-BR"/>
        </a:p>
      </dgm:t>
    </dgm:pt>
    <dgm:pt modelId="{EFC47F06-6AE3-46F6-8330-59D057633E7C}" type="sibTrans" cxnId="{CF3BA571-52CF-4CB2-9E01-1ABDF4F31D0E}">
      <dgm:prSet/>
      <dgm:spPr/>
      <dgm:t>
        <a:bodyPr/>
        <a:lstStyle/>
        <a:p>
          <a:endParaRPr lang="pt-BR"/>
        </a:p>
      </dgm:t>
    </dgm:pt>
    <dgm:pt modelId="{65A103B4-C3BE-4C04-B35B-8C877EDC76CA}" type="pres">
      <dgm:prSet presAssocID="{E4EEB783-744F-4B89-9E83-DAE1A17B3BCD}" presName="Name0" presStyleCnt="0">
        <dgm:presLayoutVars>
          <dgm:dir/>
          <dgm:resizeHandles/>
        </dgm:presLayoutVars>
      </dgm:prSet>
      <dgm:spPr/>
    </dgm:pt>
    <dgm:pt modelId="{C51C9290-F584-40B4-957F-AEFF9481D1FA}" type="pres">
      <dgm:prSet presAssocID="{C7E19854-EF29-4863-AA3A-9D57244E2B2F}" presName="composite" presStyleCnt="0"/>
      <dgm:spPr/>
    </dgm:pt>
    <dgm:pt modelId="{A1C033ED-797D-49F0-A663-0EF56CABE9B7}" type="pres">
      <dgm:prSet presAssocID="{C7E19854-EF29-4863-AA3A-9D57244E2B2F}" presName="rect1" presStyleLbl="bgImgPlace1" presStyleIdx="0" presStyleCnt="1" custFlipHor="1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0000" r="-20000"/>
          </a:stretch>
        </a:blipFill>
      </dgm:spPr>
    </dgm:pt>
    <dgm:pt modelId="{4FB529C0-CB01-4A1A-849E-B92CDF58C7FF}" type="pres">
      <dgm:prSet presAssocID="{C7E19854-EF29-4863-AA3A-9D57244E2B2F}" presName="rect2" presStyleLbl="node1" presStyleIdx="0" presStyleCnt="1">
        <dgm:presLayoutVars>
          <dgm:bulletEnabled val="1"/>
        </dgm:presLayoutVars>
      </dgm:prSet>
      <dgm:spPr/>
    </dgm:pt>
  </dgm:ptLst>
  <dgm:cxnLst>
    <dgm:cxn modelId="{679C4647-861C-4483-BD96-C687B7E0CE69}" type="presOf" srcId="{E4EEB783-744F-4B89-9E83-DAE1A17B3BCD}" destId="{65A103B4-C3BE-4C04-B35B-8C877EDC76CA}" srcOrd="0" destOrd="0" presId="urn:microsoft.com/office/officeart/2008/layout/BendingPictureBlocks"/>
    <dgm:cxn modelId="{CF3BA571-52CF-4CB2-9E01-1ABDF4F31D0E}" srcId="{E4EEB783-744F-4B89-9E83-DAE1A17B3BCD}" destId="{C7E19854-EF29-4863-AA3A-9D57244E2B2F}" srcOrd="0" destOrd="0" parTransId="{76DE607B-0789-4F46-BA84-D76438A54B8D}" sibTransId="{EFC47F06-6AE3-46F6-8330-59D057633E7C}"/>
    <dgm:cxn modelId="{6F3787EC-D457-413D-BC51-CF20F1A93B79}" type="presOf" srcId="{C7E19854-EF29-4863-AA3A-9D57244E2B2F}" destId="{4FB529C0-CB01-4A1A-849E-B92CDF58C7FF}" srcOrd="0" destOrd="0" presId="urn:microsoft.com/office/officeart/2008/layout/BendingPictureBlocks"/>
    <dgm:cxn modelId="{E6EA7CBC-49DB-4407-8E40-950810C80942}" type="presParOf" srcId="{65A103B4-C3BE-4C04-B35B-8C877EDC76CA}" destId="{C51C9290-F584-40B4-957F-AEFF9481D1FA}" srcOrd="0" destOrd="0" presId="urn:microsoft.com/office/officeart/2008/layout/BendingPictureBlocks"/>
    <dgm:cxn modelId="{5C0253C3-64E1-4A24-B675-D0968948658F}" type="presParOf" srcId="{C51C9290-F584-40B4-957F-AEFF9481D1FA}" destId="{A1C033ED-797D-49F0-A663-0EF56CABE9B7}" srcOrd="0" destOrd="0" presId="urn:microsoft.com/office/officeart/2008/layout/BendingPictureBlocks"/>
    <dgm:cxn modelId="{39D6184E-A01E-4AF4-96E5-DAB6852D70EE}" type="presParOf" srcId="{C51C9290-F584-40B4-957F-AEFF9481D1FA}" destId="{4FB529C0-CB01-4A1A-849E-B92CDF58C7FF}" srcOrd="1" destOrd="0" presId="urn:microsoft.com/office/officeart/2008/layout/BendingPictureBlocks"/>
  </dgm:cxnLst>
  <dgm:bg/>
  <dgm:whole/>
  <dgm:extLst>
    <a:ext uri="http://schemas.microsoft.com/office/drawing/2008/diagram">
      <dsp:dataModelExt xmlns:dsp="http://schemas.microsoft.com/office/drawing/2008/diagram" relId="rId3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E4EEB783-744F-4B89-9E83-DAE1A17B3BCD}" type="doc">
      <dgm:prSet loTypeId="urn:microsoft.com/office/officeart/2008/layout/BendingPictureBlocks" loCatId="picture" qsTypeId="urn:microsoft.com/office/officeart/2005/8/quickstyle/simple1" qsCatId="simple" csTypeId="urn:microsoft.com/office/officeart/2005/8/colors/accent6_2" csCatId="accent6" phldr="1"/>
      <dgm:spPr/>
    </dgm:pt>
    <dgm:pt modelId="{C7E19854-EF29-4863-AA3A-9D57244E2B2F}">
      <dgm:prSet phldrT="[Texto]"/>
      <dgm:spPr>
        <a:solidFill>
          <a:srgbClr val="47D7AC"/>
        </a:solidFill>
      </dgm:spPr>
      <dgm:t>
        <a:bodyPr/>
        <a:lstStyle/>
        <a:p>
          <a:r>
            <a:rPr lang="pt-BR" dirty="0" err="1"/>
            <a:t>Peanut</a:t>
          </a:r>
          <a:endParaRPr lang="pt-BR" dirty="0"/>
        </a:p>
      </dgm:t>
    </dgm:pt>
    <dgm:pt modelId="{76DE607B-0789-4F46-BA84-D76438A54B8D}" type="parTrans" cxnId="{CF3BA571-52CF-4CB2-9E01-1ABDF4F31D0E}">
      <dgm:prSet/>
      <dgm:spPr/>
      <dgm:t>
        <a:bodyPr/>
        <a:lstStyle/>
        <a:p>
          <a:endParaRPr lang="pt-BR"/>
        </a:p>
      </dgm:t>
    </dgm:pt>
    <dgm:pt modelId="{EFC47F06-6AE3-46F6-8330-59D057633E7C}" type="sibTrans" cxnId="{CF3BA571-52CF-4CB2-9E01-1ABDF4F31D0E}">
      <dgm:prSet/>
      <dgm:spPr/>
      <dgm:t>
        <a:bodyPr/>
        <a:lstStyle/>
        <a:p>
          <a:endParaRPr lang="pt-BR"/>
        </a:p>
      </dgm:t>
    </dgm:pt>
    <dgm:pt modelId="{65A103B4-C3BE-4C04-B35B-8C877EDC76CA}" type="pres">
      <dgm:prSet presAssocID="{E4EEB783-744F-4B89-9E83-DAE1A17B3BCD}" presName="Name0" presStyleCnt="0">
        <dgm:presLayoutVars>
          <dgm:dir/>
          <dgm:resizeHandles/>
        </dgm:presLayoutVars>
      </dgm:prSet>
      <dgm:spPr/>
    </dgm:pt>
    <dgm:pt modelId="{C51C9290-F584-40B4-957F-AEFF9481D1FA}" type="pres">
      <dgm:prSet presAssocID="{C7E19854-EF29-4863-AA3A-9D57244E2B2F}" presName="composite" presStyleCnt="0"/>
      <dgm:spPr/>
    </dgm:pt>
    <dgm:pt modelId="{A1C033ED-797D-49F0-A663-0EF56CABE9B7}" type="pres">
      <dgm:prSet presAssocID="{C7E19854-EF29-4863-AA3A-9D57244E2B2F}" presName="rect1" presStyleLbl="bgImgPlace1" presStyleIdx="0" presStyleCnt="1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3000" r="-13000"/>
          </a:stretch>
        </a:blipFill>
      </dgm:spPr>
    </dgm:pt>
    <dgm:pt modelId="{4FB529C0-CB01-4A1A-849E-B92CDF58C7FF}" type="pres">
      <dgm:prSet presAssocID="{C7E19854-EF29-4863-AA3A-9D57244E2B2F}" presName="rect2" presStyleLbl="node1" presStyleIdx="0" presStyleCnt="1">
        <dgm:presLayoutVars>
          <dgm:bulletEnabled val="1"/>
        </dgm:presLayoutVars>
      </dgm:prSet>
      <dgm:spPr/>
    </dgm:pt>
  </dgm:ptLst>
  <dgm:cxnLst>
    <dgm:cxn modelId="{7C0D7F3A-5FBA-4BB9-A2DC-9865BE6DD610}" type="presOf" srcId="{C7E19854-EF29-4863-AA3A-9D57244E2B2F}" destId="{4FB529C0-CB01-4A1A-849E-B92CDF58C7FF}" srcOrd="0" destOrd="0" presId="urn:microsoft.com/office/officeart/2008/layout/BendingPictureBlocks"/>
    <dgm:cxn modelId="{1623136B-15C8-41B9-80AD-CB87BCD8DBB0}" type="presOf" srcId="{E4EEB783-744F-4B89-9E83-DAE1A17B3BCD}" destId="{65A103B4-C3BE-4C04-B35B-8C877EDC76CA}" srcOrd="0" destOrd="0" presId="urn:microsoft.com/office/officeart/2008/layout/BendingPictureBlocks"/>
    <dgm:cxn modelId="{CF3BA571-52CF-4CB2-9E01-1ABDF4F31D0E}" srcId="{E4EEB783-744F-4B89-9E83-DAE1A17B3BCD}" destId="{C7E19854-EF29-4863-AA3A-9D57244E2B2F}" srcOrd="0" destOrd="0" parTransId="{76DE607B-0789-4F46-BA84-D76438A54B8D}" sibTransId="{EFC47F06-6AE3-46F6-8330-59D057633E7C}"/>
    <dgm:cxn modelId="{A641806B-264A-4928-BD1A-A78903550213}" type="presParOf" srcId="{65A103B4-C3BE-4C04-B35B-8C877EDC76CA}" destId="{C51C9290-F584-40B4-957F-AEFF9481D1FA}" srcOrd="0" destOrd="0" presId="urn:microsoft.com/office/officeart/2008/layout/BendingPictureBlocks"/>
    <dgm:cxn modelId="{129834BF-E9EE-4404-8082-8ABC265058CB}" type="presParOf" srcId="{C51C9290-F584-40B4-957F-AEFF9481D1FA}" destId="{A1C033ED-797D-49F0-A663-0EF56CABE9B7}" srcOrd="0" destOrd="0" presId="urn:microsoft.com/office/officeart/2008/layout/BendingPictureBlocks"/>
    <dgm:cxn modelId="{2CA2E3F6-5F93-40B3-A49A-4A8AE5928EA2}" type="presParOf" srcId="{C51C9290-F584-40B4-957F-AEFF9481D1FA}" destId="{4FB529C0-CB01-4A1A-849E-B92CDF58C7FF}" srcOrd="1" destOrd="0" presId="urn:microsoft.com/office/officeart/2008/layout/BendingPictureBlocks"/>
  </dgm:cxnLst>
  <dgm:bg/>
  <dgm:whole/>
  <dgm:extLst>
    <a:ext uri="http://schemas.microsoft.com/office/drawing/2008/diagram">
      <dsp:dataModelExt xmlns:dsp="http://schemas.microsoft.com/office/drawing/2008/diagram" relId="rId42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E4EEB783-744F-4B89-9E83-DAE1A17B3BCD}" type="doc">
      <dgm:prSet loTypeId="urn:microsoft.com/office/officeart/2008/layout/BendingPictureBlocks" loCatId="picture" qsTypeId="urn:microsoft.com/office/officeart/2005/8/quickstyle/simple1" qsCatId="simple" csTypeId="urn:microsoft.com/office/officeart/2005/8/colors/accent6_2" csCatId="accent6" phldr="1"/>
      <dgm:spPr/>
    </dgm:pt>
    <dgm:pt modelId="{C7E19854-EF29-4863-AA3A-9D57244E2B2F}">
      <dgm:prSet phldrT="[Texto]"/>
      <dgm:spPr>
        <a:solidFill>
          <a:srgbClr val="47D7AC"/>
        </a:solidFill>
      </dgm:spPr>
      <dgm:t>
        <a:bodyPr/>
        <a:lstStyle/>
        <a:p>
          <a:r>
            <a:rPr lang="pt-BR" dirty="0" err="1"/>
            <a:t>Tobacco</a:t>
          </a:r>
          <a:endParaRPr lang="pt-BR" dirty="0"/>
        </a:p>
      </dgm:t>
    </dgm:pt>
    <dgm:pt modelId="{76DE607B-0789-4F46-BA84-D76438A54B8D}" type="parTrans" cxnId="{CF3BA571-52CF-4CB2-9E01-1ABDF4F31D0E}">
      <dgm:prSet/>
      <dgm:spPr/>
      <dgm:t>
        <a:bodyPr/>
        <a:lstStyle/>
        <a:p>
          <a:endParaRPr lang="pt-BR"/>
        </a:p>
      </dgm:t>
    </dgm:pt>
    <dgm:pt modelId="{EFC47F06-6AE3-46F6-8330-59D057633E7C}" type="sibTrans" cxnId="{CF3BA571-52CF-4CB2-9E01-1ABDF4F31D0E}">
      <dgm:prSet/>
      <dgm:spPr/>
      <dgm:t>
        <a:bodyPr/>
        <a:lstStyle/>
        <a:p>
          <a:endParaRPr lang="pt-BR"/>
        </a:p>
      </dgm:t>
    </dgm:pt>
    <dgm:pt modelId="{65A103B4-C3BE-4C04-B35B-8C877EDC76CA}" type="pres">
      <dgm:prSet presAssocID="{E4EEB783-744F-4B89-9E83-DAE1A17B3BCD}" presName="Name0" presStyleCnt="0">
        <dgm:presLayoutVars>
          <dgm:dir/>
          <dgm:resizeHandles/>
        </dgm:presLayoutVars>
      </dgm:prSet>
      <dgm:spPr/>
    </dgm:pt>
    <dgm:pt modelId="{C51C9290-F584-40B4-957F-AEFF9481D1FA}" type="pres">
      <dgm:prSet presAssocID="{C7E19854-EF29-4863-AA3A-9D57244E2B2F}" presName="composite" presStyleCnt="0"/>
      <dgm:spPr/>
    </dgm:pt>
    <dgm:pt modelId="{A1C033ED-797D-49F0-A663-0EF56CABE9B7}" type="pres">
      <dgm:prSet presAssocID="{C7E19854-EF29-4863-AA3A-9D57244E2B2F}" presName="rect1" presStyleLbl="bgImgPlace1" presStyleIdx="0" presStyleCnt="1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9000" b="-9000"/>
          </a:stretch>
        </a:blipFill>
      </dgm:spPr>
    </dgm:pt>
    <dgm:pt modelId="{4FB529C0-CB01-4A1A-849E-B92CDF58C7FF}" type="pres">
      <dgm:prSet presAssocID="{C7E19854-EF29-4863-AA3A-9D57244E2B2F}" presName="rect2" presStyleLbl="node1" presStyleIdx="0" presStyleCnt="1">
        <dgm:presLayoutVars>
          <dgm:bulletEnabled val="1"/>
        </dgm:presLayoutVars>
      </dgm:prSet>
      <dgm:spPr/>
    </dgm:pt>
  </dgm:ptLst>
  <dgm:cxnLst>
    <dgm:cxn modelId="{43FE3128-E5B6-4C97-9B5A-D71FE9C9320D}" type="presOf" srcId="{C7E19854-EF29-4863-AA3A-9D57244E2B2F}" destId="{4FB529C0-CB01-4A1A-849E-B92CDF58C7FF}" srcOrd="0" destOrd="0" presId="urn:microsoft.com/office/officeart/2008/layout/BendingPictureBlocks"/>
    <dgm:cxn modelId="{CF3BA571-52CF-4CB2-9E01-1ABDF4F31D0E}" srcId="{E4EEB783-744F-4B89-9E83-DAE1A17B3BCD}" destId="{C7E19854-EF29-4863-AA3A-9D57244E2B2F}" srcOrd="0" destOrd="0" parTransId="{76DE607B-0789-4F46-BA84-D76438A54B8D}" sibTransId="{EFC47F06-6AE3-46F6-8330-59D057633E7C}"/>
    <dgm:cxn modelId="{17892382-90EE-460A-92B9-80C4F1B91F0D}" type="presOf" srcId="{E4EEB783-744F-4B89-9E83-DAE1A17B3BCD}" destId="{65A103B4-C3BE-4C04-B35B-8C877EDC76CA}" srcOrd="0" destOrd="0" presId="urn:microsoft.com/office/officeart/2008/layout/BendingPictureBlocks"/>
    <dgm:cxn modelId="{DC62F669-E2F3-4E93-9932-FBBD31393D91}" type="presParOf" srcId="{65A103B4-C3BE-4C04-B35B-8C877EDC76CA}" destId="{C51C9290-F584-40B4-957F-AEFF9481D1FA}" srcOrd="0" destOrd="0" presId="urn:microsoft.com/office/officeart/2008/layout/BendingPictureBlocks"/>
    <dgm:cxn modelId="{552F0B97-E7B5-4B70-AA91-45766546F5D3}" type="presParOf" srcId="{C51C9290-F584-40B4-957F-AEFF9481D1FA}" destId="{A1C033ED-797D-49F0-A663-0EF56CABE9B7}" srcOrd="0" destOrd="0" presId="urn:microsoft.com/office/officeart/2008/layout/BendingPictureBlocks"/>
    <dgm:cxn modelId="{CBD95A20-0102-4C00-ABFE-8E326224D75A}" type="presParOf" srcId="{C51C9290-F584-40B4-957F-AEFF9481D1FA}" destId="{4FB529C0-CB01-4A1A-849E-B92CDF58C7FF}" srcOrd="1" destOrd="0" presId="urn:microsoft.com/office/officeart/2008/layout/BendingPictureBlocks"/>
  </dgm:cxnLst>
  <dgm:bg/>
  <dgm:whole/>
  <dgm:extLst>
    <a:ext uri="http://schemas.microsoft.com/office/drawing/2008/diagram">
      <dsp:dataModelExt xmlns:dsp="http://schemas.microsoft.com/office/drawing/2008/diagram" relId="rId4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C033ED-797D-49F0-A663-0EF56CABE9B7}">
      <dsp:nvSpPr>
        <dsp:cNvPr id="0" name=""/>
        <dsp:cNvSpPr/>
      </dsp:nvSpPr>
      <dsp:spPr>
        <a:xfrm>
          <a:off x="442799" y="53116"/>
          <a:ext cx="1143491" cy="961758"/>
        </a:xfrm>
        <a:prstGeom prst="rect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3000" r="-13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FB529C0-CB01-4A1A-849E-B92CDF58C7FF}">
      <dsp:nvSpPr>
        <dsp:cNvPr id="0" name=""/>
        <dsp:cNvSpPr/>
      </dsp:nvSpPr>
      <dsp:spPr>
        <a:xfrm>
          <a:off x="16808" y="457422"/>
          <a:ext cx="619731" cy="619731"/>
        </a:xfrm>
        <a:prstGeom prst="rect">
          <a:avLst/>
        </a:prstGeom>
        <a:solidFill>
          <a:srgbClr val="47D7A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100" kern="1200" dirty="0" err="1"/>
            <a:t>Soy</a:t>
          </a:r>
          <a:endParaRPr lang="pt-BR" sz="2100" kern="1200" dirty="0"/>
        </a:p>
      </dsp:txBody>
      <dsp:txXfrm>
        <a:off x="16808" y="457422"/>
        <a:ext cx="619731" cy="619731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C033ED-797D-49F0-A663-0EF56CABE9B7}">
      <dsp:nvSpPr>
        <dsp:cNvPr id="0" name=""/>
        <dsp:cNvSpPr/>
      </dsp:nvSpPr>
      <dsp:spPr>
        <a:xfrm>
          <a:off x="442799" y="53116"/>
          <a:ext cx="1143491" cy="961758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FB529C0-CB01-4A1A-849E-B92CDF58C7FF}">
      <dsp:nvSpPr>
        <dsp:cNvPr id="0" name=""/>
        <dsp:cNvSpPr/>
      </dsp:nvSpPr>
      <dsp:spPr>
        <a:xfrm>
          <a:off x="16808" y="457422"/>
          <a:ext cx="619731" cy="619731"/>
        </a:xfrm>
        <a:prstGeom prst="rect">
          <a:avLst/>
        </a:prstGeom>
        <a:solidFill>
          <a:srgbClr val="47D7A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kern="1200" dirty="0"/>
            <a:t>Sugar</a:t>
          </a:r>
        </a:p>
      </dsp:txBody>
      <dsp:txXfrm>
        <a:off x="16808" y="457422"/>
        <a:ext cx="619731" cy="619731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C033ED-797D-49F0-A663-0EF56CABE9B7}">
      <dsp:nvSpPr>
        <dsp:cNvPr id="0" name=""/>
        <dsp:cNvSpPr/>
      </dsp:nvSpPr>
      <dsp:spPr>
        <a:xfrm>
          <a:off x="442799" y="53116"/>
          <a:ext cx="1143491" cy="961758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000" r="-6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FB529C0-CB01-4A1A-849E-B92CDF58C7FF}">
      <dsp:nvSpPr>
        <dsp:cNvPr id="0" name=""/>
        <dsp:cNvSpPr/>
      </dsp:nvSpPr>
      <dsp:spPr>
        <a:xfrm>
          <a:off x="16808" y="457422"/>
          <a:ext cx="619731" cy="619731"/>
        </a:xfrm>
        <a:prstGeom prst="rect">
          <a:avLst/>
        </a:prstGeom>
        <a:solidFill>
          <a:srgbClr val="47D7A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300" kern="1200" dirty="0" err="1"/>
            <a:t>Cocoa</a:t>
          </a:r>
          <a:endParaRPr lang="pt-BR" sz="1300" kern="1200" dirty="0"/>
        </a:p>
      </dsp:txBody>
      <dsp:txXfrm>
        <a:off x="16808" y="457422"/>
        <a:ext cx="619731" cy="619731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C033ED-797D-49F0-A663-0EF56CABE9B7}">
      <dsp:nvSpPr>
        <dsp:cNvPr id="0" name=""/>
        <dsp:cNvSpPr/>
      </dsp:nvSpPr>
      <dsp:spPr>
        <a:xfrm>
          <a:off x="442799" y="53116"/>
          <a:ext cx="1143491" cy="961758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000" b="-1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FB529C0-CB01-4A1A-849E-B92CDF58C7FF}">
      <dsp:nvSpPr>
        <dsp:cNvPr id="0" name=""/>
        <dsp:cNvSpPr/>
      </dsp:nvSpPr>
      <dsp:spPr>
        <a:xfrm>
          <a:off x="16808" y="457422"/>
          <a:ext cx="619731" cy="619731"/>
        </a:xfrm>
        <a:prstGeom prst="rect">
          <a:avLst/>
        </a:prstGeom>
        <a:solidFill>
          <a:srgbClr val="47D7A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kern="1200" dirty="0" err="1"/>
            <a:t>Hay</a:t>
          </a:r>
          <a:endParaRPr lang="pt-BR" sz="2000" kern="1200" dirty="0"/>
        </a:p>
      </dsp:txBody>
      <dsp:txXfrm>
        <a:off x="16808" y="457422"/>
        <a:ext cx="619731" cy="619731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C033ED-797D-49F0-A663-0EF56CABE9B7}">
      <dsp:nvSpPr>
        <dsp:cNvPr id="0" name=""/>
        <dsp:cNvSpPr/>
      </dsp:nvSpPr>
      <dsp:spPr>
        <a:xfrm>
          <a:off x="442799" y="53116"/>
          <a:ext cx="1143491" cy="961758"/>
        </a:xfrm>
        <a:prstGeom prst="rect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3000" r="-13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FB529C0-CB01-4A1A-849E-B92CDF58C7FF}">
      <dsp:nvSpPr>
        <dsp:cNvPr id="0" name=""/>
        <dsp:cNvSpPr/>
      </dsp:nvSpPr>
      <dsp:spPr>
        <a:xfrm>
          <a:off x="16808" y="457422"/>
          <a:ext cx="619731" cy="619731"/>
        </a:xfrm>
        <a:prstGeom prst="rect">
          <a:avLst/>
        </a:prstGeom>
        <a:solidFill>
          <a:srgbClr val="47D7A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800" kern="1200" dirty="0" err="1"/>
            <a:t>Fruits</a:t>
          </a:r>
          <a:r>
            <a:rPr lang="pt-BR" sz="800" kern="1200" dirty="0"/>
            <a:t> and </a:t>
          </a:r>
          <a:r>
            <a:rPr lang="pt-BR" sz="800" kern="1200" dirty="0" err="1"/>
            <a:t>vegetables</a:t>
          </a:r>
          <a:endParaRPr lang="pt-BR" sz="800" kern="1200" dirty="0"/>
        </a:p>
      </dsp:txBody>
      <dsp:txXfrm>
        <a:off x="16808" y="457422"/>
        <a:ext cx="619731" cy="619731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C033ED-797D-49F0-A663-0EF56CABE9B7}">
      <dsp:nvSpPr>
        <dsp:cNvPr id="0" name=""/>
        <dsp:cNvSpPr/>
      </dsp:nvSpPr>
      <dsp:spPr>
        <a:xfrm>
          <a:off x="442799" y="53116"/>
          <a:ext cx="1143491" cy="961758"/>
        </a:xfrm>
        <a:prstGeom prst="rect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000" r="-6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FB529C0-CB01-4A1A-849E-B92CDF58C7FF}">
      <dsp:nvSpPr>
        <dsp:cNvPr id="0" name=""/>
        <dsp:cNvSpPr/>
      </dsp:nvSpPr>
      <dsp:spPr>
        <a:xfrm>
          <a:off x="16808" y="457422"/>
          <a:ext cx="619731" cy="619731"/>
        </a:xfrm>
        <a:prstGeom prst="rect">
          <a:avLst/>
        </a:prstGeom>
        <a:solidFill>
          <a:srgbClr val="47D7A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kern="1200" dirty="0" err="1"/>
            <a:t>Beans</a:t>
          </a:r>
          <a:endParaRPr lang="pt-BR" sz="1400" kern="1200" dirty="0"/>
        </a:p>
      </dsp:txBody>
      <dsp:txXfrm>
        <a:off x="16808" y="457422"/>
        <a:ext cx="619731" cy="619731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C033ED-797D-49F0-A663-0EF56CABE9B7}">
      <dsp:nvSpPr>
        <dsp:cNvPr id="0" name=""/>
        <dsp:cNvSpPr/>
      </dsp:nvSpPr>
      <dsp:spPr>
        <a:xfrm>
          <a:off x="442799" y="53116"/>
          <a:ext cx="1143491" cy="961758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9000" r="-9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FB529C0-CB01-4A1A-849E-B92CDF58C7FF}">
      <dsp:nvSpPr>
        <dsp:cNvPr id="0" name=""/>
        <dsp:cNvSpPr/>
      </dsp:nvSpPr>
      <dsp:spPr>
        <a:xfrm>
          <a:off x="16808" y="457422"/>
          <a:ext cx="619731" cy="619731"/>
        </a:xfrm>
        <a:prstGeom prst="rect">
          <a:avLst/>
        </a:prstGeom>
        <a:solidFill>
          <a:srgbClr val="47D7A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600" kern="1200" dirty="0"/>
            <a:t>Feed</a:t>
          </a:r>
        </a:p>
      </dsp:txBody>
      <dsp:txXfrm>
        <a:off x="16808" y="457422"/>
        <a:ext cx="619731" cy="619731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C033ED-797D-49F0-A663-0EF56CABE9B7}">
      <dsp:nvSpPr>
        <dsp:cNvPr id="0" name=""/>
        <dsp:cNvSpPr/>
      </dsp:nvSpPr>
      <dsp:spPr>
        <a:xfrm>
          <a:off x="442799" y="53116"/>
          <a:ext cx="1143491" cy="961758"/>
        </a:xfrm>
        <a:prstGeom prst="rect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FB529C0-CB01-4A1A-849E-B92CDF58C7FF}">
      <dsp:nvSpPr>
        <dsp:cNvPr id="0" name=""/>
        <dsp:cNvSpPr/>
      </dsp:nvSpPr>
      <dsp:spPr>
        <a:xfrm>
          <a:off x="16808" y="457422"/>
          <a:ext cx="619731" cy="619731"/>
        </a:xfrm>
        <a:prstGeom prst="rect">
          <a:avLst/>
        </a:prstGeom>
        <a:solidFill>
          <a:srgbClr val="47D7A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kern="1200" dirty="0"/>
            <a:t>Sugar </a:t>
          </a:r>
          <a:r>
            <a:rPr lang="pt-BR" sz="1400" kern="1200" dirty="0" err="1"/>
            <a:t>cane</a:t>
          </a:r>
          <a:endParaRPr lang="pt-BR" sz="1400" kern="1200" dirty="0"/>
        </a:p>
      </dsp:txBody>
      <dsp:txXfrm>
        <a:off x="16808" y="457422"/>
        <a:ext cx="619731" cy="61973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C033ED-797D-49F0-A663-0EF56CABE9B7}">
      <dsp:nvSpPr>
        <dsp:cNvPr id="0" name=""/>
        <dsp:cNvSpPr/>
      </dsp:nvSpPr>
      <dsp:spPr>
        <a:xfrm>
          <a:off x="442799" y="53116"/>
          <a:ext cx="1143491" cy="961758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000" r="-6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FB529C0-CB01-4A1A-849E-B92CDF58C7FF}">
      <dsp:nvSpPr>
        <dsp:cNvPr id="0" name=""/>
        <dsp:cNvSpPr/>
      </dsp:nvSpPr>
      <dsp:spPr>
        <a:xfrm>
          <a:off x="16808" y="457422"/>
          <a:ext cx="619731" cy="619731"/>
        </a:xfrm>
        <a:prstGeom prst="rect">
          <a:avLst/>
        </a:prstGeom>
        <a:solidFill>
          <a:srgbClr val="47D7A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700" kern="1200" dirty="0" err="1"/>
            <a:t>Corn</a:t>
          </a:r>
          <a:endParaRPr lang="pt-BR" sz="1700" kern="1200" dirty="0"/>
        </a:p>
      </dsp:txBody>
      <dsp:txXfrm>
        <a:off x="16808" y="457422"/>
        <a:ext cx="619731" cy="61973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C033ED-797D-49F0-A663-0EF56CABE9B7}">
      <dsp:nvSpPr>
        <dsp:cNvPr id="0" name=""/>
        <dsp:cNvSpPr/>
      </dsp:nvSpPr>
      <dsp:spPr>
        <a:xfrm flipH="1">
          <a:off x="442799" y="53116"/>
          <a:ext cx="1143491" cy="961758"/>
        </a:xfrm>
        <a:prstGeom prst="rect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9000" b="-9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FB529C0-CB01-4A1A-849E-B92CDF58C7FF}">
      <dsp:nvSpPr>
        <dsp:cNvPr id="0" name=""/>
        <dsp:cNvSpPr/>
      </dsp:nvSpPr>
      <dsp:spPr>
        <a:xfrm>
          <a:off x="16808" y="457422"/>
          <a:ext cx="619731" cy="619731"/>
        </a:xfrm>
        <a:prstGeom prst="rect">
          <a:avLst/>
        </a:prstGeom>
        <a:solidFill>
          <a:srgbClr val="47D7A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300" kern="1200" dirty="0" err="1"/>
            <a:t>Wheat</a:t>
          </a:r>
          <a:endParaRPr lang="pt-BR" sz="1300" kern="1200" dirty="0"/>
        </a:p>
      </dsp:txBody>
      <dsp:txXfrm>
        <a:off x="16808" y="457422"/>
        <a:ext cx="619731" cy="61973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C033ED-797D-49F0-A663-0EF56CABE9B7}">
      <dsp:nvSpPr>
        <dsp:cNvPr id="0" name=""/>
        <dsp:cNvSpPr/>
      </dsp:nvSpPr>
      <dsp:spPr>
        <a:xfrm>
          <a:off x="442799" y="53116"/>
          <a:ext cx="1143491" cy="961758"/>
        </a:xfrm>
        <a:prstGeom prst="rect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9000" r="-19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FB529C0-CB01-4A1A-849E-B92CDF58C7FF}">
      <dsp:nvSpPr>
        <dsp:cNvPr id="0" name=""/>
        <dsp:cNvSpPr/>
      </dsp:nvSpPr>
      <dsp:spPr>
        <a:xfrm>
          <a:off x="16808" y="457422"/>
          <a:ext cx="619731" cy="619731"/>
        </a:xfrm>
        <a:prstGeom prst="rect">
          <a:avLst/>
        </a:prstGeom>
        <a:solidFill>
          <a:srgbClr val="47D7A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kern="1200" dirty="0" err="1"/>
            <a:t>Barley</a:t>
          </a:r>
          <a:endParaRPr lang="pt-BR" sz="1400" kern="1200" dirty="0"/>
        </a:p>
      </dsp:txBody>
      <dsp:txXfrm>
        <a:off x="16808" y="457422"/>
        <a:ext cx="619731" cy="619731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C033ED-797D-49F0-A663-0EF56CABE9B7}">
      <dsp:nvSpPr>
        <dsp:cNvPr id="0" name=""/>
        <dsp:cNvSpPr/>
      </dsp:nvSpPr>
      <dsp:spPr>
        <a:xfrm>
          <a:off x="442799" y="53116"/>
          <a:ext cx="1143491" cy="961758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1000" r="-31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FB529C0-CB01-4A1A-849E-B92CDF58C7FF}">
      <dsp:nvSpPr>
        <dsp:cNvPr id="0" name=""/>
        <dsp:cNvSpPr/>
      </dsp:nvSpPr>
      <dsp:spPr>
        <a:xfrm>
          <a:off x="16808" y="457422"/>
          <a:ext cx="619731" cy="619731"/>
        </a:xfrm>
        <a:prstGeom prst="rect">
          <a:avLst/>
        </a:prstGeom>
        <a:solidFill>
          <a:srgbClr val="47D7A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800" kern="1200" dirty="0"/>
            <a:t>Rice</a:t>
          </a:r>
        </a:p>
      </dsp:txBody>
      <dsp:txXfrm>
        <a:off x="16808" y="457422"/>
        <a:ext cx="619731" cy="619731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C033ED-797D-49F0-A663-0EF56CABE9B7}">
      <dsp:nvSpPr>
        <dsp:cNvPr id="0" name=""/>
        <dsp:cNvSpPr/>
      </dsp:nvSpPr>
      <dsp:spPr>
        <a:xfrm flipH="1">
          <a:off x="442799" y="53116"/>
          <a:ext cx="1143491" cy="961758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3000" r="-13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FB529C0-CB01-4A1A-849E-B92CDF58C7FF}">
      <dsp:nvSpPr>
        <dsp:cNvPr id="0" name=""/>
        <dsp:cNvSpPr/>
      </dsp:nvSpPr>
      <dsp:spPr>
        <a:xfrm>
          <a:off x="16808" y="457422"/>
          <a:ext cx="619731" cy="619731"/>
        </a:xfrm>
        <a:prstGeom prst="rect">
          <a:avLst/>
        </a:prstGeom>
        <a:solidFill>
          <a:srgbClr val="47D7A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200" kern="1200" dirty="0" err="1"/>
            <a:t>Leaves</a:t>
          </a:r>
          <a:endParaRPr lang="pt-BR" sz="1200" kern="1200" dirty="0"/>
        </a:p>
      </dsp:txBody>
      <dsp:txXfrm>
        <a:off x="16808" y="457422"/>
        <a:ext cx="619731" cy="619731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C033ED-797D-49F0-A663-0EF56CABE9B7}">
      <dsp:nvSpPr>
        <dsp:cNvPr id="0" name=""/>
        <dsp:cNvSpPr/>
      </dsp:nvSpPr>
      <dsp:spPr>
        <a:xfrm flipH="1">
          <a:off x="442799" y="53116"/>
          <a:ext cx="1143491" cy="961758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0000" r="-20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FB529C0-CB01-4A1A-849E-B92CDF58C7FF}">
      <dsp:nvSpPr>
        <dsp:cNvPr id="0" name=""/>
        <dsp:cNvSpPr/>
      </dsp:nvSpPr>
      <dsp:spPr>
        <a:xfrm>
          <a:off x="16808" y="457422"/>
          <a:ext cx="619731" cy="619731"/>
        </a:xfrm>
        <a:prstGeom prst="rect">
          <a:avLst/>
        </a:prstGeom>
        <a:solidFill>
          <a:srgbClr val="47D7A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900" kern="1200" dirty="0" err="1"/>
            <a:t>Seedlings</a:t>
          </a:r>
          <a:endParaRPr lang="pt-BR" sz="900" kern="1200" dirty="0"/>
        </a:p>
      </dsp:txBody>
      <dsp:txXfrm>
        <a:off x="16808" y="457422"/>
        <a:ext cx="619731" cy="619731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C033ED-797D-49F0-A663-0EF56CABE9B7}">
      <dsp:nvSpPr>
        <dsp:cNvPr id="0" name=""/>
        <dsp:cNvSpPr/>
      </dsp:nvSpPr>
      <dsp:spPr>
        <a:xfrm>
          <a:off x="442799" y="53116"/>
          <a:ext cx="1143491" cy="961758"/>
        </a:xfrm>
        <a:prstGeom prst="rect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3000" r="-13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FB529C0-CB01-4A1A-849E-B92CDF58C7FF}">
      <dsp:nvSpPr>
        <dsp:cNvPr id="0" name=""/>
        <dsp:cNvSpPr/>
      </dsp:nvSpPr>
      <dsp:spPr>
        <a:xfrm>
          <a:off x="16808" y="457422"/>
          <a:ext cx="619731" cy="619731"/>
        </a:xfrm>
        <a:prstGeom prst="rect">
          <a:avLst/>
        </a:prstGeom>
        <a:solidFill>
          <a:srgbClr val="47D7A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200" kern="1200" dirty="0" err="1"/>
            <a:t>Peanut</a:t>
          </a:r>
          <a:endParaRPr lang="pt-BR" sz="1200" kern="1200" dirty="0"/>
        </a:p>
      </dsp:txBody>
      <dsp:txXfrm>
        <a:off x="16808" y="457422"/>
        <a:ext cx="619731" cy="619731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C033ED-797D-49F0-A663-0EF56CABE9B7}">
      <dsp:nvSpPr>
        <dsp:cNvPr id="0" name=""/>
        <dsp:cNvSpPr/>
      </dsp:nvSpPr>
      <dsp:spPr>
        <a:xfrm>
          <a:off x="442799" y="53116"/>
          <a:ext cx="1143491" cy="961758"/>
        </a:xfrm>
        <a:prstGeom prst="rect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9000" b="-9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FB529C0-CB01-4A1A-849E-B92CDF58C7FF}">
      <dsp:nvSpPr>
        <dsp:cNvPr id="0" name=""/>
        <dsp:cNvSpPr/>
      </dsp:nvSpPr>
      <dsp:spPr>
        <a:xfrm>
          <a:off x="16808" y="457422"/>
          <a:ext cx="619731" cy="619731"/>
        </a:xfrm>
        <a:prstGeom prst="rect">
          <a:avLst/>
        </a:prstGeom>
        <a:solidFill>
          <a:srgbClr val="47D7A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100" kern="1200" dirty="0" err="1"/>
            <a:t>Tobacco</a:t>
          </a:r>
          <a:endParaRPr lang="pt-BR" sz="1100" kern="1200" dirty="0"/>
        </a:p>
      </dsp:txBody>
      <dsp:txXfrm>
        <a:off x="16808" y="457422"/>
        <a:ext cx="619731" cy="61973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BendingPictureBlocks">
  <dgm:title val=""/>
  <dgm:desc val=""/>
  <dgm:catLst>
    <dgm:cat type="picture" pri="8000"/>
    <dgm:cat type="pictureconvert" pri="8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h" fact="1.61"/>
      <dgm:constr type="h" for="ch" forName="composite" refType="h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alg type="composite">
          <dgm:param type="ar" val="1.3908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3"/>
              <dgm:constr type="t" for="ch" forName="rect1" refType="h" fact="0"/>
              <dgm:constr type="w" for="ch" forName="rect1" refType="h" fact="1.12"/>
              <dgm:constr type="h" for="ch" forName="rect1" refType="h" fact="0.942"/>
              <dgm:constr type="l" for="ch" forName="rect2" refType="w" fact="0"/>
              <dgm:constr type="t" for="ch" forName="rect2" refType="h" fact="0.396"/>
              <dgm:constr type="w" for="ch" forName="rect2" refType="h" fact="0.607"/>
              <dgm:constr type="h" for="ch" forName="rect2" refType="h" fact="0.607"/>
            </dgm:constrLst>
          </dgm:if>
          <dgm:else name="Name6">
            <dgm:constrLst>
              <dgm:constr type="l" for="ch" forName="rect1" refType="w" fact="0"/>
              <dgm:constr type="t" for="ch" forName="rect1" refType="h" fact="0"/>
              <dgm:constr type="w" for="ch" forName="rect1" refType="h" fact="1.12"/>
              <dgm:constr type="h" for="ch" forName="rect1" refType="h" fact="0.942"/>
              <dgm:constr type="l" for="ch" forName="rect2" refType="w" fact="0.63"/>
              <dgm:constr type="t" for="ch" forName="rect2" refType="h" fact="0.396"/>
              <dgm:constr type="w" for="ch" forName="rect2" refType="h" fact="0.607"/>
              <dgm:constr type="h" for="ch" forName="rect2" refType="h" fact="0.607"/>
            </dgm:constrLst>
          </dgm:else>
        </dgm:choose>
        <dgm:layoutNode name="rect1" styleLbl="b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rect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8/layout/BendingPictureBlocks">
  <dgm:title val=""/>
  <dgm:desc val=""/>
  <dgm:catLst>
    <dgm:cat type="picture" pri="8000"/>
    <dgm:cat type="pictureconvert" pri="8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h" fact="1.61"/>
      <dgm:constr type="h" for="ch" forName="composite" refType="h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alg type="composite">
          <dgm:param type="ar" val="1.3908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3"/>
              <dgm:constr type="t" for="ch" forName="rect1" refType="h" fact="0"/>
              <dgm:constr type="w" for="ch" forName="rect1" refType="h" fact="1.12"/>
              <dgm:constr type="h" for="ch" forName="rect1" refType="h" fact="0.942"/>
              <dgm:constr type="l" for="ch" forName="rect2" refType="w" fact="0"/>
              <dgm:constr type="t" for="ch" forName="rect2" refType="h" fact="0.396"/>
              <dgm:constr type="w" for="ch" forName="rect2" refType="h" fact="0.607"/>
              <dgm:constr type="h" for="ch" forName="rect2" refType="h" fact="0.607"/>
            </dgm:constrLst>
          </dgm:if>
          <dgm:else name="Name6">
            <dgm:constrLst>
              <dgm:constr type="l" for="ch" forName="rect1" refType="w" fact="0"/>
              <dgm:constr type="t" for="ch" forName="rect1" refType="h" fact="0"/>
              <dgm:constr type="w" for="ch" forName="rect1" refType="h" fact="1.12"/>
              <dgm:constr type="h" for="ch" forName="rect1" refType="h" fact="0.942"/>
              <dgm:constr type="l" for="ch" forName="rect2" refType="w" fact="0.63"/>
              <dgm:constr type="t" for="ch" forName="rect2" refType="h" fact="0.396"/>
              <dgm:constr type="w" for="ch" forName="rect2" refType="h" fact="0.607"/>
              <dgm:constr type="h" for="ch" forName="rect2" refType="h" fact="0.607"/>
            </dgm:constrLst>
          </dgm:else>
        </dgm:choose>
        <dgm:layoutNode name="rect1" styleLbl="b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rect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8/layout/BendingPictureBlocks">
  <dgm:title val=""/>
  <dgm:desc val=""/>
  <dgm:catLst>
    <dgm:cat type="picture" pri="8000"/>
    <dgm:cat type="pictureconvert" pri="8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h" fact="1.61"/>
      <dgm:constr type="h" for="ch" forName="composite" refType="h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alg type="composite">
          <dgm:param type="ar" val="1.3908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3"/>
              <dgm:constr type="t" for="ch" forName="rect1" refType="h" fact="0"/>
              <dgm:constr type="w" for="ch" forName="rect1" refType="h" fact="1.12"/>
              <dgm:constr type="h" for="ch" forName="rect1" refType="h" fact="0.942"/>
              <dgm:constr type="l" for="ch" forName="rect2" refType="w" fact="0"/>
              <dgm:constr type="t" for="ch" forName="rect2" refType="h" fact="0.396"/>
              <dgm:constr type="w" for="ch" forName="rect2" refType="h" fact="0.607"/>
              <dgm:constr type="h" for="ch" forName="rect2" refType="h" fact="0.607"/>
            </dgm:constrLst>
          </dgm:if>
          <dgm:else name="Name6">
            <dgm:constrLst>
              <dgm:constr type="l" for="ch" forName="rect1" refType="w" fact="0"/>
              <dgm:constr type="t" for="ch" forName="rect1" refType="h" fact="0"/>
              <dgm:constr type="w" for="ch" forName="rect1" refType="h" fact="1.12"/>
              <dgm:constr type="h" for="ch" forName="rect1" refType="h" fact="0.942"/>
              <dgm:constr type="l" for="ch" forName="rect2" refType="w" fact="0.63"/>
              <dgm:constr type="t" for="ch" forName="rect2" refType="h" fact="0.396"/>
              <dgm:constr type="w" for="ch" forName="rect2" refType="h" fact="0.607"/>
              <dgm:constr type="h" for="ch" forName="rect2" refType="h" fact="0.607"/>
            </dgm:constrLst>
          </dgm:else>
        </dgm:choose>
        <dgm:layoutNode name="rect1" styleLbl="b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rect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8/layout/BendingPictureBlocks">
  <dgm:title val=""/>
  <dgm:desc val=""/>
  <dgm:catLst>
    <dgm:cat type="picture" pri="8000"/>
    <dgm:cat type="pictureconvert" pri="8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h" fact="1.61"/>
      <dgm:constr type="h" for="ch" forName="composite" refType="h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alg type="composite">
          <dgm:param type="ar" val="1.3908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3"/>
              <dgm:constr type="t" for="ch" forName="rect1" refType="h" fact="0"/>
              <dgm:constr type="w" for="ch" forName="rect1" refType="h" fact="1.12"/>
              <dgm:constr type="h" for="ch" forName="rect1" refType="h" fact="0.942"/>
              <dgm:constr type="l" for="ch" forName="rect2" refType="w" fact="0"/>
              <dgm:constr type="t" for="ch" forName="rect2" refType="h" fact="0.396"/>
              <dgm:constr type="w" for="ch" forName="rect2" refType="h" fact="0.607"/>
              <dgm:constr type="h" for="ch" forName="rect2" refType="h" fact="0.607"/>
            </dgm:constrLst>
          </dgm:if>
          <dgm:else name="Name6">
            <dgm:constrLst>
              <dgm:constr type="l" for="ch" forName="rect1" refType="w" fact="0"/>
              <dgm:constr type="t" for="ch" forName="rect1" refType="h" fact="0"/>
              <dgm:constr type="w" for="ch" forName="rect1" refType="h" fact="1.12"/>
              <dgm:constr type="h" for="ch" forName="rect1" refType="h" fact="0.942"/>
              <dgm:constr type="l" for="ch" forName="rect2" refType="w" fact="0.63"/>
              <dgm:constr type="t" for="ch" forName="rect2" refType="h" fact="0.396"/>
              <dgm:constr type="w" for="ch" forName="rect2" refType="h" fact="0.607"/>
              <dgm:constr type="h" for="ch" forName="rect2" refType="h" fact="0.607"/>
            </dgm:constrLst>
          </dgm:else>
        </dgm:choose>
        <dgm:layoutNode name="rect1" styleLbl="b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rect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8/layout/BendingPictureBlocks">
  <dgm:title val=""/>
  <dgm:desc val=""/>
  <dgm:catLst>
    <dgm:cat type="picture" pri="8000"/>
    <dgm:cat type="pictureconvert" pri="8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h" fact="1.61"/>
      <dgm:constr type="h" for="ch" forName="composite" refType="h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alg type="composite">
          <dgm:param type="ar" val="1.3908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3"/>
              <dgm:constr type="t" for="ch" forName="rect1" refType="h" fact="0"/>
              <dgm:constr type="w" for="ch" forName="rect1" refType="h" fact="1.12"/>
              <dgm:constr type="h" for="ch" forName="rect1" refType="h" fact="0.942"/>
              <dgm:constr type="l" for="ch" forName="rect2" refType="w" fact="0"/>
              <dgm:constr type="t" for="ch" forName="rect2" refType="h" fact="0.396"/>
              <dgm:constr type="w" for="ch" forName="rect2" refType="h" fact="0.607"/>
              <dgm:constr type="h" for="ch" forName="rect2" refType="h" fact="0.607"/>
            </dgm:constrLst>
          </dgm:if>
          <dgm:else name="Name6">
            <dgm:constrLst>
              <dgm:constr type="l" for="ch" forName="rect1" refType="w" fact="0"/>
              <dgm:constr type="t" for="ch" forName="rect1" refType="h" fact="0"/>
              <dgm:constr type="w" for="ch" forName="rect1" refType="h" fact="1.12"/>
              <dgm:constr type="h" for="ch" forName="rect1" refType="h" fact="0.942"/>
              <dgm:constr type="l" for="ch" forName="rect2" refType="w" fact="0.63"/>
              <dgm:constr type="t" for="ch" forName="rect2" refType="h" fact="0.396"/>
              <dgm:constr type="w" for="ch" forName="rect2" refType="h" fact="0.607"/>
              <dgm:constr type="h" for="ch" forName="rect2" refType="h" fact="0.607"/>
            </dgm:constrLst>
          </dgm:else>
        </dgm:choose>
        <dgm:layoutNode name="rect1" styleLbl="b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rect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8/layout/BendingPictureBlocks">
  <dgm:title val=""/>
  <dgm:desc val=""/>
  <dgm:catLst>
    <dgm:cat type="picture" pri="8000"/>
    <dgm:cat type="pictureconvert" pri="8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h" fact="1.61"/>
      <dgm:constr type="h" for="ch" forName="composite" refType="h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alg type="composite">
          <dgm:param type="ar" val="1.3908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3"/>
              <dgm:constr type="t" for="ch" forName="rect1" refType="h" fact="0"/>
              <dgm:constr type="w" for="ch" forName="rect1" refType="h" fact="1.12"/>
              <dgm:constr type="h" for="ch" forName="rect1" refType="h" fact="0.942"/>
              <dgm:constr type="l" for="ch" forName="rect2" refType="w" fact="0"/>
              <dgm:constr type="t" for="ch" forName="rect2" refType="h" fact="0.396"/>
              <dgm:constr type="w" for="ch" forName="rect2" refType="h" fact="0.607"/>
              <dgm:constr type="h" for="ch" forName="rect2" refType="h" fact="0.607"/>
            </dgm:constrLst>
          </dgm:if>
          <dgm:else name="Name6">
            <dgm:constrLst>
              <dgm:constr type="l" for="ch" forName="rect1" refType="w" fact="0"/>
              <dgm:constr type="t" for="ch" forName="rect1" refType="h" fact="0"/>
              <dgm:constr type="w" for="ch" forName="rect1" refType="h" fact="1.12"/>
              <dgm:constr type="h" for="ch" forName="rect1" refType="h" fact="0.942"/>
              <dgm:constr type="l" for="ch" forName="rect2" refType="w" fact="0.63"/>
              <dgm:constr type="t" for="ch" forName="rect2" refType="h" fact="0.396"/>
              <dgm:constr type="w" for="ch" forName="rect2" refType="h" fact="0.607"/>
              <dgm:constr type="h" for="ch" forName="rect2" refType="h" fact="0.607"/>
            </dgm:constrLst>
          </dgm:else>
        </dgm:choose>
        <dgm:layoutNode name="rect1" styleLbl="b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rect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8/layout/BendingPictureBlocks">
  <dgm:title val=""/>
  <dgm:desc val=""/>
  <dgm:catLst>
    <dgm:cat type="picture" pri="8000"/>
    <dgm:cat type="pictureconvert" pri="8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h" fact="1.61"/>
      <dgm:constr type="h" for="ch" forName="composite" refType="h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alg type="composite">
          <dgm:param type="ar" val="1.3908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3"/>
              <dgm:constr type="t" for="ch" forName="rect1" refType="h" fact="0"/>
              <dgm:constr type="w" for="ch" forName="rect1" refType="h" fact="1.12"/>
              <dgm:constr type="h" for="ch" forName="rect1" refType="h" fact="0.942"/>
              <dgm:constr type="l" for="ch" forName="rect2" refType="w" fact="0"/>
              <dgm:constr type="t" for="ch" forName="rect2" refType="h" fact="0.396"/>
              <dgm:constr type="w" for="ch" forName="rect2" refType="h" fact="0.607"/>
              <dgm:constr type="h" for="ch" forName="rect2" refType="h" fact="0.607"/>
            </dgm:constrLst>
          </dgm:if>
          <dgm:else name="Name6">
            <dgm:constrLst>
              <dgm:constr type="l" for="ch" forName="rect1" refType="w" fact="0"/>
              <dgm:constr type="t" for="ch" forName="rect1" refType="h" fact="0"/>
              <dgm:constr type="w" for="ch" forName="rect1" refType="h" fact="1.12"/>
              <dgm:constr type="h" for="ch" forName="rect1" refType="h" fact="0.942"/>
              <dgm:constr type="l" for="ch" forName="rect2" refType="w" fact="0.63"/>
              <dgm:constr type="t" for="ch" forName="rect2" refType="h" fact="0.396"/>
              <dgm:constr type="w" for="ch" forName="rect2" refType="h" fact="0.607"/>
              <dgm:constr type="h" for="ch" forName="rect2" refType="h" fact="0.607"/>
            </dgm:constrLst>
          </dgm:else>
        </dgm:choose>
        <dgm:layoutNode name="rect1" styleLbl="b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rect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8/layout/BendingPictureBlocks">
  <dgm:title val=""/>
  <dgm:desc val=""/>
  <dgm:catLst>
    <dgm:cat type="picture" pri="8000"/>
    <dgm:cat type="pictureconvert" pri="8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h" fact="1.61"/>
      <dgm:constr type="h" for="ch" forName="composite" refType="h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alg type="composite">
          <dgm:param type="ar" val="1.3908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3"/>
              <dgm:constr type="t" for="ch" forName="rect1" refType="h" fact="0"/>
              <dgm:constr type="w" for="ch" forName="rect1" refType="h" fact="1.12"/>
              <dgm:constr type="h" for="ch" forName="rect1" refType="h" fact="0.942"/>
              <dgm:constr type="l" for="ch" forName="rect2" refType="w" fact="0"/>
              <dgm:constr type="t" for="ch" forName="rect2" refType="h" fact="0.396"/>
              <dgm:constr type="w" for="ch" forName="rect2" refType="h" fact="0.607"/>
              <dgm:constr type="h" for="ch" forName="rect2" refType="h" fact="0.607"/>
            </dgm:constrLst>
          </dgm:if>
          <dgm:else name="Name6">
            <dgm:constrLst>
              <dgm:constr type="l" for="ch" forName="rect1" refType="w" fact="0"/>
              <dgm:constr type="t" for="ch" forName="rect1" refType="h" fact="0"/>
              <dgm:constr type="w" for="ch" forName="rect1" refType="h" fact="1.12"/>
              <dgm:constr type="h" for="ch" forName="rect1" refType="h" fact="0.942"/>
              <dgm:constr type="l" for="ch" forName="rect2" refType="w" fact="0.63"/>
              <dgm:constr type="t" for="ch" forName="rect2" refType="h" fact="0.396"/>
              <dgm:constr type="w" for="ch" forName="rect2" refType="h" fact="0.607"/>
              <dgm:constr type="h" for="ch" forName="rect2" refType="h" fact="0.607"/>
            </dgm:constrLst>
          </dgm:else>
        </dgm:choose>
        <dgm:layoutNode name="rect1" styleLbl="b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rect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BendingPictureBlocks">
  <dgm:title val=""/>
  <dgm:desc val=""/>
  <dgm:catLst>
    <dgm:cat type="picture" pri="8000"/>
    <dgm:cat type="pictureconvert" pri="8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h" fact="1.61"/>
      <dgm:constr type="h" for="ch" forName="composite" refType="h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alg type="composite">
          <dgm:param type="ar" val="1.3908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3"/>
              <dgm:constr type="t" for="ch" forName="rect1" refType="h" fact="0"/>
              <dgm:constr type="w" for="ch" forName="rect1" refType="h" fact="1.12"/>
              <dgm:constr type="h" for="ch" forName="rect1" refType="h" fact="0.942"/>
              <dgm:constr type="l" for="ch" forName="rect2" refType="w" fact="0"/>
              <dgm:constr type="t" for="ch" forName="rect2" refType="h" fact="0.396"/>
              <dgm:constr type="w" for="ch" forName="rect2" refType="h" fact="0.607"/>
              <dgm:constr type="h" for="ch" forName="rect2" refType="h" fact="0.607"/>
            </dgm:constrLst>
          </dgm:if>
          <dgm:else name="Name6">
            <dgm:constrLst>
              <dgm:constr type="l" for="ch" forName="rect1" refType="w" fact="0"/>
              <dgm:constr type="t" for="ch" forName="rect1" refType="h" fact="0"/>
              <dgm:constr type="w" for="ch" forName="rect1" refType="h" fact="1.12"/>
              <dgm:constr type="h" for="ch" forName="rect1" refType="h" fact="0.942"/>
              <dgm:constr type="l" for="ch" forName="rect2" refType="w" fact="0.63"/>
              <dgm:constr type="t" for="ch" forName="rect2" refType="h" fact="0.396"/>
              <dgm:constr type="w" for="ch" forName="rect2" refType="h" fact="0.607"/>
              <dgm:constr type="h" for="ch" forName="rect2" refType="h" fact="0.607"/>
            </dgm:constrLst>
          </dgm:else>
        </dgm:choose>
        <dgm:layoutNode name="rect1" styleLbl="b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rect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BendingPictureBlocks">
  <dgm:title val=""/>
  <dgm:desc val=""/>
  <dgm:catLst>
    <dgm:cat type="picture" pri="8000"/>
    <dgm:cat type="pictureconvert" pri="8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h" fact="1.61"/>
      <dgm:constr type="h" for="ch" forName="composite" refType="h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alg type="composite">
          <dgm:param type="ar" val="1.3908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3"/>
              <dgm:constr type="t" for="ch" forName="rect1" refType="h" fact="0"/>
              <dgm:constr type="w" for="ch" forName="rect1" refType="h" fact="1.12"/>
              <dgm:constr type="h" for="ch" forName="rect1" refType="h" fact="0.942"/>
              <dgm:constr type="l" for="ch" forName="rect2" refType="w" fact="0"/>
              <dgm:constr type="t" for="ch" forName="rect2" refType="h" fact="0.396"/>
              <dgm:constr type="w" for="ch" forName="rect2" refType="h" fact="0.607"/>
              <dgm:constr type="h" for="ch" forName="rect2" refType="h" fact="0.607"/>
            </dgm:constrLst>
          </dgm:if>
          <dgm:else name="Name6">
            <dgm:constrLst>
              <dgm:constr type="l" for="ch" forName="rect1" refType="w" fact="0"/>
              <dgm:constr type="t" for="ch" forName="rect1" refType="h" fact="0"/>
              <dgm:constr type="w" for="ch" forName="rect1" refType="h" fact="1.12"/>
              <dgm:constr type="h" for="ch" forName="rect1" refType="h" fact="0.942"/>
              <dgm:constr type="l" for="ch" forName="rect2" refType="w" fact="0.63"/>
              <dgm:constr type="t" for="ch" forName="rect2" refType="h" fact="0.396"/>
              <dgm:constr type="w" for="ch" forName="rect2" refType="h" fact="0.607"/>
              <dgm:constr type="h" for="ch" forName="rect2" refType="h" fact="0.607"/>
            </dgm:constrLst>
          </dgm:else>
        </dgm:choose>
        <dgm:layoutNode name="rect1" styleLbl="b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rect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BendingPictureBlocks">
  <dgm:title val=""/>
  <dgm:desc val=""/>
  <dgm:catLst>
    <dgm:cat type="picture" pri="8000"/>
    <dgm:cat type="pictureconvert" pri="8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h" fact="1.61"/>
      <dgm:constr type="h" for="ch" forName="composite" refType="h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alg type="composite">
          <dgm:param type="ar" val="1.3908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3"/>
              <dgm:constr type="t" for="ch" forName="rect1" refType="h" fact="0"/>
              <dgm:constr type="w" for="ch" forName="rect1" refType="h" fact="1.12"/>
              <dgm:constr type="h" for="ch" forName="rect1" refType="h" fact="0.942"/>
              <dgm:constr type="l" for="ch" forName="rect2" refType="w" fact="0"/>
              <dgm:constr type="t" for="ch" forName="rect2" refType="h" fact="0.396"/>
              <dgm:constr type="w" for="ch" forName="rect2" refType="h" fact="0.607"/>
              <dgm:constr type="h" for="ch" forName="rect2" refType="h" fact="0.607"/>
            </dgm:constrLst>
          </dgm:if>
          <dgm:else name="Name6">
            <dgm:constrLst>
              <dgm:constr type="l" for="ch" forName="rect1" refType="w" fact="0"/>
              <dgm:constr type="t" for="ch" forName="rect1" refType="h" fact="0"/>
              <dgm:constr type="w" for="ch" forName="rect1" refType="h" fact="1.12"/>
              <dgm:constr type="h" for="ch" forName="rect1" refType="h" fact="0.942"/>
              <dgm:constr type="l" for="ch" forName="rect2" refType="w" fact="0.63"/>
              <dgm:constr type="t" for="ch" forName="rect2" refType="h" fact="0.396"/>
              <dgm:constr type="w" for="ch" forName="rect2" refType="h" fact="0.607"/>
              <dgm:constr type="h" for="ch" forName="rect2" refType="h" fact="0.607"/>
            </dgm:constrLst>
          </dgm:else>
        </dgm:choose>
        <dgm:layoutNode name="rect1" styleLbl="b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rect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BendingPictureBlocks">
  <dgm:title val=""/>
  <dgm:desc val=""/>
  <dgm:catLst>
    <dgm:cat type="picture" pri="8000"/>
    <dgm:cat type="pictureconvert" pri="8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h" fact="1.61"/>
      <dgm:constr type="h" for="ch" forName="composite" refType="h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alg type="composite">
          <dgm:param type="ar" val="1.3908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3"/>
              <dgm:constr type="t" for="ch" forName="rect1" refType="h" fact="0"/>
              <dgm:constr type="w" for="ch" forName="rect1" refType="h" fact="1.12"/>
              <dgm:constr type="h" for="ch" forName="rect1" refType="h" fact="0.942"/>
              <dgm:constr type="l" for="ch" forName="rect2" refType="w" fact="0"/>
              <dgm:constr type="t" for="ch" forName="rect2" refType="h" fact="0.396"/>
              <dgm:constr type="w" for="ch" forName="rect2" refType="h" fact="0.607"/>
              <dgm:constr type="h" for="ch" forName="rect2" refType="h" fact="0.607"/>
            </dgm:constrLst>
          </dgm:if>
          <dgm:else name="Name6">
            <dgm:constrLst>
              <dgm:constr type="l" for="ch" forName="rect1" refType="w" fact="0"/>
              <dgm:constr type="t" for="ch" forName="rect1" refType="h" fact="0"/>
              <dgm:constr type="w" for="ch" forName="rect1" refType="h" fact="1.12"/>
              <dgm:constr type="h" for="ch" forName="rect1" refType="h" fact="0.942"/>
              <dgm:constr type="l" for="ch" forName="rect2" refType="w" fact="0.63"/>
              <dgm:constr type="t" for="ch" forName="rect2" refType="h" fact="0.396"/>
              <dgm:constr type="w" for="ch" forName="rect2" refType="h" fact="0.607"/>
              <dgm:constr type="h" for="ch" forName="rect2" refType="h" fact="0.607"/>
            </dgm:constrLst>
          </dgm:else>
        </dgm:choose>
        <dgm:layoutNode name="rect1" styleLbl="b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rect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BendingPictureBlocks">
  <dgm:title val=""/>
  <dgm:desc val=""/>
  <dgm:catLst>
    <dgm:cat type="picture" pri="8000"/>
    <dgm:cat type="pictureconvert" pri="8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h" fact="1.61"/>
      <dgm:constr type="h" for="ch" forName="composite" refType="h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alg type="composite">
          <dgm:param type="ar" val="1.3908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3"/>
              <dgm:constr type="t" for="ch" forName="rect1" refType="h" fact="0"/>
              <dgm:constr type="w" for="ch" forName="rect1" refType="h" fact="1.12"/>
              <dgm:constr type="h" for="ch" forName="rect1" refType="h" fact="0.942"/>
              <dgm:constr type="l" for="ch" forName="rect2" refType="w" fact="0"/>
              <dgm:constr type="t" for="ch" forName="rect2" refType="h" fact="0.396"/>
              <dgm:constr type="w" for="ch" forName="rect2" refType="h" fact="0.607"/>
              <dgm:constr type="h" for="ch" forName="rect2" refType="h" fact="0.607"/>
            </dgm:constrLst>
          </dgm:if>
          <dgm:else name="Name6">
            <dgm:constrLst>
              <dgm:constr type="l" for="ch" forName="rect1" refType="w" fact="0"/>
              <dgm:constr type="t" for="ch" forName="rect1" refType="h" fact="0"/>
              <dgm:constr type="w" for="ch" forName="rect1" refType="h" fact="1.12"/>
              <dgm:constr type="h" for="ch" forName="rect1" refType="h" fact="0.942"/>
              <dgm:constr type="l" for="ch" forName="rect2" refType="w" fact="0.63"/>
              <dgm:constr type="t" for="ch" forName="rect2" refType="h" fact="0.396"/>
              <dgm:constr type="w" for="ch" forName="rect2" refType="h" fact="0.607"/>
              <dgm:constr type="h" for="ch" forName="rect2" refType="h" fact="0.607"/>
            </dgm:constrLst>
          </dgm:else>
        </dgm:choose>
        <dgm:layoutNode name="rect1" styleLbl="b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rect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BendingPictureBlocks">
  <dgm:title val=""/>
  <dgm:desc val=""/>
  <dgm:catLst>
    <dgm:cat type="picture" pri="8000"/>
    <dgm:cat type="pictureconvert" pri="8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h" fact="1.61"/>
      <dgm:constr type="h" for="ch" forName="composite" refType="h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alg type="composite">
          <dgm:param type="ar" val="1.3908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3"/>
              <dgm:constr type="t" for="ch" forName="rect1" refType="h" fact="0"/>
              <dgm:constr type="w" for="ch" forName="rect1" refType="h" fact="1.12"/>
              <dgm:constr type="h" for="ch" forName="rect1" refType="h" fact="0.942"/>
              <dgm:constr type="l" for="ch" forName="rect2" refType="w" fact="0"/>
              <dgm:constr type="t" for="ch" forName="rect2" refType="h" fact="0.396"/>
              <dgm:constr type="w" for="ch" forName="rect2" refType="h" fact="0.607"/>
              <dgm:constr type="h" for="ch" forName="rect2" refType="h" fact="0.607"/>
            </dgm:constrLst>
          </dgm:if>
          <dgm:else name="Name6">
            <dgm:constrLst>
              <dgm:constr type="l" for="ch" forName="rect1" refType="w" fact="0"/>
              <dgm:constr type="t" for="ch" forName="rect1" refType="h" fact="0"/>
              <dgm:constr type="w" for="ch" forName="rect1" refType="h" fact="1.12"/>
              <dgm:constr type="h" for="ch" forName="rect1" refType="h" fact="0.942"/>
              <dgm:constr type="l" for="ch" forName="rect2" refType="w" fact="0.63"/>
              <dgm:constr type="t" for="ch" forName="rect2" refType="h" fact="0.396"/>
              <dgm:constr type="w" for="ch" forName="rect2" refType="h" fact="0.607"/>
              <dgm:constr type="h" for="ch" forName="rect2" refType="h" fact="0.607"/>
            </dgm:constrLst>
          </dgm:else>
        </dgm:choose>
        <dgm:layoutNode name="rect1" styleLbl="b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rect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8/layout/BendingPictureBlocks">
  <dgm:title val=""/>
  <dgm:desc val=""/>
  <dgm:catLst>
    <dgm:cat type="picture" pri="8000"/>
    <dgm:cat type="pictureconvert" pri="8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h" fact="1.61"/>
      <dgm:constr type="h" for="ch" forName="composite" refType="h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alg type="composite">
          <dgm:param type="ar" val="1.3908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3"/>
              <dgm:constr type="t" for="ch" forName="rect1" refType="h" fact="0"/>
              <dgm:constr type="w" for="ch" forName="rect1" refType="h" fact="1.12"/>
              <dgm:constr type="h" for="ch" forName="rect1" refType="h" fact="0.942"/>
              <dgm:constr type="l" for="ch" forName="rect2" refType="w" fact="0"/>
              <dgm:constr type="t" for="ch" forName="rect2" refType="h" fact="0.396"/>
              <dgm:constr type="w" for="ch" forName="rect2" refType="h" fact="0.607"/>
              <dgm:constr type="h" for="ch" forName="rect2" refType="h" fact="0.607"/>
            </dgm:constrLst>
          </dgm:if>
          <dgm:else name="Name6">
            <dgm:constrLst>
              <dgm:constr type="l" for="ch" forName="rect1" refType="w" fact="0"/>
              <dgm:constr type="t" for="ch" forName="rect1" refType="h" fact="0"/>
              <dgm:constr type="w" for="ch" forName="rect1" refType="h" fact="1.12"/>
              <dgm:constr type="h" for="ch" forName="rect1" refType="h" fact="0.942"/>
              <dgm:constr type="l" for="ch" forName="rect2" refType="w" fact="0.63"/>
              <dgm:constr type="t" for="ch" forName="rect2" refType="h" fact="0.396"/>
              <dgm:constr type="w" for="ch" forName="rect2" refType="h" fact="0.607"/>
              <dgm:constr type="h" for="ch" forName="rect2" refType="h" fact="0.607"/>
            </dgm:constrLst>
          </dgm:else>
        </dgm:choose>
        <dgm:layoutNode name="rect1" styleLbl="b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rect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8/layout/BendingPictureBlocks">
  <dgm:title val=""/>
  <dgm:desc val=""/>
  <dgm:catLst>
    <dgm:cat type="picture" pri="8000"/>
    <dgm:cat type="pictureconvert" pri="8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h" fact="1.61"/>
      <dgm:constr type="h" for="ch" forName="composite" refType="h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alg type="composite">
          <dgm:param type="ar" val="1.3908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3"/>
              <dgm:constr type="t" for="ch" forName="rect1" refType="h" fact="0"/>
              <dgm:constr type="w" for="ch" forName="rect1" refType="h" fact="1.12"/>
              <dgm:constr type="h" for="ch" forName="rect1" refType="h" fact="0.942"/>
              <dgm:constr type="l" for="ch" forName="rect2" refType="w" fact="0"/>
              <dgm:constr type="t" for="ch" forName="rect2" refType="h" fact="0.396"/>
              <dgm:constr type="w" for="ch" forName="rect2" refType="h" fact="0.607"/>
              <dgm:constr type="h" for="ch" forName="rect2" refType="h" fact="0.607"/>
            </dgm:constrLst>
          </dgm:if>
          <dgm:else name="Name6">
            <dgm:constrLst>
              <dgm:constr type="l" for="ch" forName="rect1" refType="w" fact="0"/>
              <dgm:constr type="t" for="ch" forName="rect1" refType="h" fact="0"/>
              <dgm:constr type="w" for="ch" forName="rect1" refType="h" fact="1.12"/>
              <dgm:constr type="h" for="ch" forName="rect1" refType="h" fact="0.942"/>
              <dgm:constr type="l" for="ch" forName="rect2" refType="w" fact="0.63"/>
              <dgm:constr type="t" for="ch" forName="rect2" refType="h" fact="0.396"/>
              <dgm:constr type="w" for="ch" forName="rect2" refType="h" fact="0.607"/>
              <dgm:constr type="h" for="ch" forName="rect2" refType="h" fact="0.607"/>
            </dgm:constrLst>
          </dgm:else>
        </dgm:choose>
        <dgm:layoutNode name="rect1" styleLbl="b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rect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CCB54D-6B1E-41E3-BA73-FBBAF9DB8AB8}" type="datetimeFigureOut">
              <a:rPr lang="en-SG" smtClean="0"/>
              <a:t>13/8/2019</a:t>
            </a:fld>
            <a:endParaRPr lang="en-SG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8D995E-4DEF-4B70-983A-6E2FF2F5E70E}" type="slidenum">
              <a:rPr lang="en-SG" smtClean="0"/>
              <a:t>‹nº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282798544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175" y="685800"/>
            <a:ext cx="6096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03612499"/>
      </p:ext>
    </p:extLst>
  </p:cSld>
  <p:clrMap bg1="lt1" tx1="dk1" bg2="dk2" tx2="lt2" accent1="accent1" accent2="accent2" accent3="accent3" accent4="accent4" accent5="accent5" accent6="accent6" hlink="hlink" folHlink="folHlink"/>
  <p:hf hdr="0" ftr="0" dt="0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75DDB6-6C2D-4324-AFAA-53CE2C665ABD}" type="slidenum">
              <a:rPr lang="fr-FR" smtClean="0">
                <a:solidFill>
                  <a:prstClr val="black"/>
                </a:solidFill>
              </a:rPr>
              <a:pPr/>
              <a:t>3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14369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" name="Google Shape;238;g35f391192_06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9" name="Google Shape;239;g35f391192_06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08142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g35f391192_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9" name="Google Shape;89;g35f391192_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869607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26155882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22985199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g35f391192_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9" name="Google Shape;89;g35f391192_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869607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25521164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25521164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/>
          <p:nvPr/>
        </p:nvSpPr>
        <p:spPr>
          <a:xfrm flipH="1">
            <a:off x="-688" y="0"/>
            <a:ext cx="4575600" cy="51435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ctrTitle"/>
          </p:nvPr>
        </p:nvSpPr>
        <p:spPr>
          <a:xfrm>
            <a:off x="468925" y="2387250"/>
            <a:ext cx="3636600" cy="22590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Clr>
                <a:srgbClr val="F67031"/>
              </a:buClr>
              <a:buSzPts val="3000"/>
              <a:buNone/>
              <a:defRPr sz="3000" b="1">
                <a:solidFill>
                  <a:srgbClr val="F6703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rgbClr val="F67031"/>
              </a:buClr>
              <a:buSzPts val="3000"/>
              <a:buNone/>
              <a:defRPr sz="3000" b="1">
                <a:solidFill>
                  <a:srgbClr val="F6703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rgbClr val="F67031"/>
              </a:buClr>
              <a:buSzPts val="3000"/>
              <a:buNone/>
              <a:defRPr sz="3000" b="1">
                <a:solidFill>
                  <a:srgbClr val="F6703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rgbClr val="F67031"/>
              </a:buClr>
              <a:buSzPts val="3000"/>
              <a:buNone/>
              <a:defRPr sz="3000" b="1">
                <a:solidFill>
                  <a:srgbClr val="F6703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rgbClr val="F67031"/>
              </a:buClr>
              <a:buSzPts val="3000"/>
              <a:buNone/>
              <a:defRPr sz="3000" b="1">
                <a:solidFill>
                  <a:srgbClr val="F6703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rgbClr val="F67031"/>
              </a:buClr>
              <a:buSzPts val="3000"/>
              <a:buNone/>
              <a:defRPr sz="3000" b="1">
                <a:solidFill>
                  <a:srgbClr val="F6703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rgbClr val="F67031"/>
              </a:buClr>
              <a:buSzPts val="3000"/>
              <a:buNone/>
              <a:defRPr sz="3000" b="1">
                <a:solidFill>
                  <a:srgbClr val="F6703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rgbClr val="F67031"/>
              </a:buClr>
              <a:buSzPts val="3000"/>
              <a:buNone/>
              <a:defRPr sz="3000" b="1">
                <a:solidFill>
                  <a:srgbClr val="F6703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rgbClr val="F67031"/>
              </a:buClr>
              <a:buSzPts val="3000"/>
              <a:buNone/>
              <a:defRPr sz="3000" b="1">
                <a:solidFill>
                  <a:srgbClr val="F67031"/>
                </a:solidFill>
              </a:defRPr>
            </a:lvl9pPr>
          </a:lstStyle>
          <a:p>
            <a:endParaRPr/>
          </a:p>
        </p:txBody>
      </p:sp>
      <p:sp>
        <p:nvSpPr>
          <p:cNvPr id="12" name="Google Shape;12;p2"/>
          <p:cNvSpPr/>
          <p:nvPr/>
        </p:nvSpPr>
        <p:spPr>
          <a:xfrm>
            <a:off x="4574900" y="-150"/>
            <a:ext cx="185400" cy="5143500"/>
          </a:xfrm>
          <a:prstGeom prst="rect">
            <a:avLst/>
          </a:prstGeom>
          <a:gradFill>
            <a:gsLst>
              <a:gs pos="0">
                <a:srgbClr val="000014">
                  <a:alpha val="49803"/>
                </a:srgbClr>
              </a:gs>
              <a:gs pos="100000">
                <a:srgbClr val="000014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>
  <p:cSld name="TITLE_1_2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4"/>
          <p:cNvSpPr/>
          <p:nvPr/>
        </p:nvSpPr>
        <p:spPr>
          <a:xfrm flipH="1">
            <a:off x="4568412" y="0"/>
            <a:ext cx="4575600" cy="51435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" name="Google Shape;21;p4"/>
          <p:cNvSpPr txBox="1">
            <a:spLocks noGrp="1"/>
          </p:cNvSpPr>
          <p:nvPr>
            <p:ph type="subTitle" idx="1"/>
          </p:nvPr>
        </p:nvSpPr>
        <p:spPr>
          <a:xfrm>
            <a:off x="646550" y="1989500"/>
            <a:ext cx="3246900" cy="21264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Georgia"/>
              <a:buNone/>
              <a:defRPr i="1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Font typeface="Georgia"/>
              <a:buNone/>
              <a:defRPr sz="3000" i="1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Font typeface="Georgia"/>
              <a:buNone/>
              <a:defRPr sz="3000" i="1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Font typeface="Georgia"/>
              <a:buNone/>
              <a:defRPr sz="3000" i="1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Font typeface="Georgia"/>
              <a:buNone/>
              <a:defRPr sz="3000" i="1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Font typeface="Georgia"/>
              <a:buNone/>
              <a:defRPr sz="3000" i="1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Font typeface="Georgia"/>
              <a:buNone/>
              <a:defRPr sz="3000" i="1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Font typeface="Georgia"/>
              <a:buNone/>
              <a:defRPr sz="3000" i="1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Font typeface="Georgia"/>
              <a:buNone/>
              <a:defRPr sz="3000" i="1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defRPr>
            </a:lvl9pPr>
          </a:lstStyle>
          <a:p>
            <a:endParaRPr/>
          </a:p>
        </p:txBody>
      </p:sp>
      <p:sp>
        <p:nvSpPr>
          <p:cNvPr id="22" name="Google Shape;22;p4"/>
          <p:cNvSpPr txBox="1">
            <a:spLocks noGrp="1"/>
          </p:cNvSpPr>
          <p:nvPr>
            <p:ph type="sldNum" idx="12"/>
          </p:nvPr>
        </p:nvSpPr>
        <p:spPr>
          <a:xfrm>
            <a:off x="8556784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nº›</a:t>
            </a:fld>
            <a:endParaRPr/>
          </a:p>
        </p:txBody>
      </p:sp>
      <p:sp>
        <p:nvSpPr>
          <p:cNvPr id="23" name="Google Shape;23;p4"/>
          <p:cNvSpPr/>
          <p:nvPr/>
        </p:nvSpPr>
        <p:spPr>
          <a:xfrm flipH="1">
            <a:off x="4455300" y="0"/>
            <a:ext cx="113100" cy="5143500"/>
          </a:xfrm>
          <a:prstGeom prst="rect">
            <a:avLst/>
          </a:prstGeom>
          <a:gradFill>
            <a:gsLst>
              <a:gs pos="0">
                <a:srgbClr val="000014">
                  <a:alpha val="20000"/>
                </a:srgbClr>
              </a:gs>
              <a:gs pos="100000">
                <a:srgbClr val="000014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" name="Google Shape;24;p4"/>
          <p:cNvSpPr txBox="1">
            <a:spLocks noGrp="1"/>
          </p:cNvSpPr>
          <p:nvPr>
            <p:ph type="body" idx="2"/>
          </p:nvPr>
        </p:nvSpPr>
        <p:spPr>
          <a:xfrm>
            <a:off x="5130225" y="1016000"/>
            <a:ext cx="3470700" cy="30999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200" lvl="0" indent="-342900" rtl="0">
              <a:spcBef>
                <a:spcPts val="0"/>
              </a:spcBef>
              <a:spcAft>
                <a:spcPts val="0"/>
              </a:spcAft>
              <a:buClr>
                <a:srgbClr val="F67031"/>
              </a:buClr>
              <a:buSzPts val="1800"/>
              <a:buAutoNum type="arabicPeriod"/>
              <a:defRPr sz="1800"/>
            </a:lvl1pPr>
            <a:lvl2pPr marL="914400" lvl="1" indent="-317500" rtl="0">
              <a:spcBef>
                <a:spcPts val="1000"/>
              </a:spcBef>
              <a:spcAft>
                <a:spcPts val="0"/>
              </a:spcAft>
              <a:buSzPts val="1400"/>
              <a:buAutoNum type="alphaLcPeriod"/>
              <a:defRPr>
                <a:solidFill>
                  <a:srgbClr val="999999"/>
                </a:solidFill>
              </a:defRPr>
            </a:lvl2pPr>
            <a:lvl3pPr marL="1371600" lvl="2" indent="-317500" rtl="0">
              <a:spcBef>
                <a:spcPts val="1000"/>
              </a:spcBef>
              <a:spcAft>
                <a:spcPts val="0"/>
              </a:spcAft>
              <a:buSzPts val="1400"/>
              <a:buAutoNum type="romanLcPeriod"/>
              <a:defRPr>
                <a:solidFill>
                  <a:srgbClr val="999999"/>
                </a:solidFill>
              </a:defRPr>
            </a:lvl3pPr>
            <a:lvl4pPr marL="1828800" lvl="3" indent="-317500" rtl="0">
              <a:spcBef>
                <a:spcPts val="1000"/>
              </a:spcBef>
              <a:spcAft>
                <a:spcPts val="0"/>
              </a:spcAft>
              <a:buSzPts val="1400"/>
              <a:buAutoNum type="arabicPeriod"/>
              <a:defRPr>
                <a:solidFill>
                  <a:srgbClr val="999999"/>
                </a:solidFill>
              </a:defRPr>
            </a:lvl4pPr>
            <a:lvl5pPr marL="2286000" lvl="4" indent="-317500" rtl="0">
              <a:spcBef>
                <a:spcPts val="1000"/>
              </a:spcBef>
              <a:spcAft>
                <a:spcPts val="0"/>
              </a:spcAft>
              <a:buClr>
                <a:srgbClr val="999999"/>
              </a:buClr>
              <a:buSzPts val="1400"/>
              <a:buAutoNum type="alphaLcPeriod"/>
              <a:defRPr>
                <a:solidFill>
                  <a:srgbClr val="999999"/>
                </a:solidFill>
              </a:defRPr>
            </a:lvl5pPr>
            <a:lvl6pPr marL="2743200" lvl="5" indent="-317500" rtl="0">
              <a:spcBef>
                <a:spcPts val="1000"/>
              </a:spcBef>
              <a:spcAft>
                <a:spcPts val="0"/>
              </a:spcAft>
              <a:buClr>
                <a:srgbClr val="999999"/>
              </a:buClr>
              <a:buSzPts val="1400"/>
              <a:buAutoNum type="romanLcPeriod"/>
              <a:defRPr>
                <a:solidFill>
                  <a:srgbClr val="999999"/>
                </a:solidFill>
              </a:defRPr>
            </a:lvl6pPr>
            <a:lvl7pPr marL="3200400" lvl="6" indent="-317500" rtl="0">
              <a:spcBef>
                <a:spcPts val="1000"/>
              </a:spcBef>
              <a:spcAft>
                <a:spcPts val="0"/>
              </a:spcAft>
              <a:buClr>
                <a:srgbClr val="999999"/>
              </a:buClr>
              <a:buSzPts val="1400"/>
              <a:buAutoNum type="arabicPeriod"/>
              <a:defRPr>
                <a:solidFill>
                  <a:srgbClr val="999999"/>
                </a:solidFill>
              </a:defRPr>
            </a:lvl7pPr>
            <a:lvl8pPr marL="3657600" lvl="7" indent="-317500" rtl="0">
              <a:spcBef>
                <a:spcPts val="1000"/>
              </a:spcBef>
              <a:spcAft>
                <a:spcPts val="0"/>
              </a:spcAft>
              <a:buClr>
                <a:srgbClr val="999999"/>
              </a:buClr>
              <a:buSzPts val="1400"/>
              <a:buAutoNum type="alphaLcPeriod"/>
              <a:defRPr>
                <a:solidFill>
                  <a:srgbClr val="999999"/>
                </a:solidFill>
              </a:defRPr>
            </a:lvl8pPr>
            <a:lvl9pPr marL="4114800" lvl="8" indent="-317500" rtl="0">
              <a:spcBef>
                <a:spcPts val="1000"/>
              </a:spcBef>
              <a:spcAft>
                <a:spcPts val="1000"/>
              </a:spcAft>
              <a:buClr>
                <a:srgbClr val="999999"/>
              </a:buClr>
              <a:buSzPts val="1400"/>
              <a:buAutoNum type="romanLcPeriod"/>
              <a:defRPr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25" name="Google Shape;25;p4"/>
          <p:cNvSpPr txBox="1">
            <a:spLocks noGrp="1"/>
          </p:cNvSpPr>
          <p:nvPr>
            <p:ph type="title"/>
          </p:nvPr>
        </p:nvSpPr>
        <p:spPr>
          <a:xfrm>
            <a:off x="646573" y="1016000"/>
            <a:ext cx="3246900" cy="9735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TITLE_1_1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5"/>
          <p:cNvSpPr/>
          <p:nvPr/>
        </p:nvSpPr>
        <p:spPr>
          <a:xfrm rot="5400000" flipH="1">
            <a:off x="4518950" y="-3360875"/>
            <a:ext cx="113100" cy="9151200"/>
          </a:xfrm>
          <a:prstGeom prst="rect">
            <a:avLst/>
          </a:prstGeom>
          <a:gradFill>
            <a:gsLst>
              <a:gs pos="0">
                <a:srgbClr val="000014">
                  <a:alpha val="20000"/>
                </a:srgbClr>
              </a:gs>
              <a:gs pos="100000">
                <a:srgbClr val="000014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" name="Google Shape;28;p5"/>
          <p:cNvSpPr/>
          <p:nvPr/>
        </p:nvSpPr>
        <p:spPr>
          <a:xfrm>
            <a:off x="-7125" y="1271275"/>
            <a:ext cx="9151200" cy="38721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" name="Google Shape;29;p5"/>
          <p:cNvSpPr txBox="1">
            <a:spLocks noGrp="1"/>
          </p:cNvSpPr>
          <p:nvPr>
            <p:ph type="body" idx="1"/>
          </p:nvPr>
        </p:nvSpPr>
        <p:spPr>
          <a:xfrm>
            <a:off x="1847275" y="1704600"/>
            <a:ext cx="5449500" cy="27147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200" lvl="0" indent="-381000" algn="ctr" rtl="0">
              <a:spcBef>
                <a:spcPts val="600"/>
              </a:spcBef>
              <a:spcAft>
                <a:spcPts val="0"/>
              </a:spcAft>
              <a:buSzPts val="2400"/>
              <a:buFont typeface="Georgia"/>
              <a:buChar char="▪"/>
              <a:defRPr sz="2400" i="1">
                <a:latin typeface="Georgia"/>
                <a:ea typeface="Georgia"/>
                <a:cs typeface="Georgia"/>
                <a:sym typeface="Georgia"/>
              </a:defRPr>
            </a:lvl1pPr>
            <a:lvl2pPr marL="914400" lvl="1" indent="-381000" algn="ctr" rtl="0">
              <a:spcBef>
                <a:spcPts val="0"/>
              </a:spcBef>
              <a:spcAft>
                <a:spcPts val="0"/>
              </a:spcAft>
              <a:buSzPts val="2400"/>
              <a:buFont typeface="Georgia"/>
              <a:buChar char="-"/>
              <a:defRPr sz="2400" i="1">
                <a:latin typeface="Georgia"/>
                <a:ea typeface="Georgia"/>
                <a:cs typeface="Georgia"/>
                <a:sym typeface="Georgia"/>
              </a:defRPr>
            </a:lvl2pPr>
            <a:lvl3pPr marL="1371600" lvl="2" indent="-381000" algn="ctr" rtl="0">
              <a:spcBef>
                <a:spcPts val="0"/>
              </a:spcBef>
              <a:spcAft>
                <a:spcPts val="0"/>
              </a:spcAft>
              <a:buSzPts val="2400"/>
              <a:buFont typeface="Georgia"/>
              <a:buChar char="-"/>
              <a:defRPr sz="2400" i="1">
                <a:latin typeface="Georgia"/>
                <a:ea typeface="Georgia"/>
                <a:cs typeface="Georgia"/>
                <a:sym typeface="Georgia"/>
              </a:defRPr>
            </a:lvl3pPr>
            <a:lvl4pPr marL="1828800" lvl="3" indent="-381000" algn="ctr" rtl="0">
              <a:spcBef>
                <a:spcPts val="0"/>
              </a:spcBef>
              <a:spcAft>
                <a:spcPts val="0"/>
              </a:spcAft>
              <a:buSzPts val="2400"/>
              <a:buFont typeface="Georgia"/>
              <a:buChar char="-"/>
              <a:defRPr sz="2400" i="1">
                <a:latin typeface="Georgia"/>
                <a:ea typeface="Georgia"/>
                <a:cs typeface="Georgia"/>
                <a:sym typeface="Georgia"/>
              </a:defRPr>
            </a:lvl4pPr>
            <a:lvl5pPr marL="2286000" lvl="4" indent="-381000" algn="ctr" rtl="0">
              <a:spcBef>
                <a:spcPts val="0"/>
              </a:spcBef>
              <a:spcAft>
                <a:spcPts val="0"/>
              </a:spcAft>
              <a:buSzPts val="2400"/>
              <a:buFont typeface="Georgia"/>
              <a:buChar char="-"/>
              <a:defRPr sz="2400" i="1">
                <a:latin typeface="Georgia"/>
                <a:ea typeface="Georgia"/>
                <a:cs typeface="Georgia"/>
                <a:sym typeface="Georgia"/>
              </a:defRPr>
            </a:lvl5pPr>
            <a:lvl6pPr marL="2743200" lvl="5" indent="-381000" algn="ctr" rtl="0">
              <a:spcBef>
                <a:spcPts val="0"/>
              </a:spcBef>
              <a:spcAft>
                <a:spcPts val="0"/>
              </a:spcAft>
              <a:buSzPts val="2400"/>
              <a:buFont typeface="Georgia"/>
              <a:buChar char="-"/>
              <a:defRPr sz="2400" i="1">
                <a:latin typeface="Georgia"/>
                <a:ea typeface="Georgia"/>
                <a:cs typeface="Georgia"/>
                <a:sym typeface="Georgia"/>
              </a:defRPr>
            </a:lvl6pPr>
            <a:lvl7pPr marL="3200400" lvl="6" indent="-381000" algn="ctr" rtl="0">
              <a:spcBef>
                <a:spcPts val="0"/>
              </a:spcBef>
              <a:spcAft>
                <a:spcPts val="0"/>
              </a:spcAft>
              <a:buSzPts val="2400"/>
              <a:buFont typeface="Georgia"/>
              <a:buChar char="-"/>
              <a:defRPr sz="2400" i="1">
                <a:latin typeface="Georgia"/>
                <a:ea typeface="Georgia"/>
                <a:cs typeface="Georgia"/>
                <a:sym typeface="Georgia"/>
              </a:defRPr>
            </a:lvl7pPr>
            <a:lvl8pPr marL="3657600" lvl="7" indent="-381000" algn="ctr" rtl="0">
              <a:spcBef>
                <a:spcPts val="0"/>
              </a:spcBef>
              <a:spcAft>
                <a:spcPts val="0"/>
              </a:spcAft>
              <a:buSzPts val="2400"/>
              <a:buFont typeface="Georgia"/>
              <a:buChar char="-"/>
              <a:defRPr sz="2400" i="1">
                <a:latin typeface="Georgia"/>
                <a:ea typeface="Georgia"/>
                <a:cs typeface="Georgia"/>
                <a:sym typeface="Georgia"/>
              </a:defRPr>
            </a:lvl8pPr>
            <a:lvl9pPr marL="4114800" lvl="8" indent="-381000" algn="ctr">
              <a:spcBef>
                <a:spcPts val="0"/>
              </a:spcBef>
              <a:spcAft>
                <a:spcPts val="0"/>
              </a:spcAft>
              <a:buSzPts val="2400"/>
              <a:buFont typeface="Georgia"/>
              <a:buChar char="-"/>
              <a:defRPr sz="2400" i="1">
                <a:latin typeface="Georgia"/>
                <a:ea typeface="Georgia"/>
                <a:cs typeface="Georgia"/>
                <a:sym typeface="Georgia"/>
              </a:defRPr>
            </a:lvl9pPr>
          </a:lstStyle>
          <a:p>
            <a:endParaRPr/>
          </a:p>
        </p:txBody>
      </p:sp>
      <p:sp>
        <p:nvSpPr>
          <p:cNvPr id="30" name="Google Shape;30;p5"/>
          <p:cNvSpPr txBox="1"/>
          <p:nvPr/>
        </p:nvSpPr>
        <p:spPr>
          <a:xfrm>
            <a:off x="3593400" y="227724"/>
            <a:ext cx="1957200" cy="65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7200">
                <a:solidFill>
                  <a:srgbClr val="FFFFFF"/>
                </a:solidFill>
                <a:latin typeface="Nunito Sans"/>
                <a:ea typeface="Nunito Sans"/>
                <a:cs typeface="Nunito Sans"/>
                <a:sym typeface="Nunito Sans"/>
              </a:rPr>
              <a:t>“</a:t>
            </a:r>
            <a:endParaRPr sz="7200">
              <a:solidFill>
                <a:srgbClr val="FFFFFF"/>
              </a:solidFill>
              <a:latin typeface="Nunito Sans"/>
              <a:ea typeface="Nunito Sans"/>
              <a:cs typeface="Nunito Sans"/>
              <a:sym typeface="Nunito Sans"/>
            </a:endParaRPr>
          </a:p>
        </p:txBody>
      </p:sp>
      <p:sp>
        <p:nvSpPr>
          <p:cNvPr id="31" name="Google Shape;31;p5"/>
          <p:cNvSpPr txBox="1">
            <a:spLocks noGrp="1"/>
          </p:cNvSpPr>
          <p:nvPr>
            <p:ph type="sldNum" idx="12"/>
          </p:nvPr>
        </p:nvSpPr>
        <p:spPr>
          <a:xfrm>
            <a:off x="8556784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_AND_BODY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6"/>
          <p:cNvSpPr/>
          <p:nvPr/>
        </p:nvSpPr>
        <p:spPr>
          <a:xfrm flipH="1">
            <a:off x="2472375" y="0"/>
            <a:ext cx="113100" cy="5143500"/>
          </a:xfrm>
          <a:prstGeom prst="rect">
            <a:avLst/>
          </a:prstGeom>
          <a:gradFill>
            <a:gsLst>
              <a:gs pos="0">
                <a:srgbClr val="000014">
                  <a:alpha val="20000"/>
                </a:srgbClr>
              </a:gs>
              <a:gs pos="100000">
                <a:srgbClr val="000014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" name="Google Shape;34;p6"/>
          <p:cNvSpPr/>
          <p:nvPr/>
        </p:nvSpPr>
        <p:spPr>
          <a:xfrm>
            <a:off x="2585475" y="0"/>
            <a:ext cx="6558600" cy="51435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" name="Google Shape;35;p6"/>
          <p:cNvSpPr txBox="1">
            <a:spLocks noGrp="1"/>
          </p:cNvSpPr>
          <p:nvPr>
            <p:ph type="title"/>
          </p:nvPr>
        </p:nvSpPr>
        <p:spPr>
          <a:xfrm>
            <a:off x="234450" y="575500"/>
            <a:ext cx="2046300" cy="39810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9pPr>
          </a:lstStyle>
          <a:p>
            <a:endParaRPr/>
          </a:p>
        </p:txBody>
      </p:sp>
      <p:sp>
        <p:nvSpPr>
          <p:cNvPr id="36" name="Google Shape;36;p6"/>
          <p:cNvSpPr txBox="1">
            <a:spLocks noGrp="1"/>
          </p:cNvSpPr>
          <p:nvPr>
            <p:ph type="body" idx="1"/>
          </p:nvPr>
        </p:nvSpPr>
        <p:spPr>
          <a:xfrm>
            <a:off x="3090625" y="575500"/>
            <a:ext cx="5596200" cy="39810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200" lvl="0" indent="-317500">
              <a:spcBef>
                <a:spcPts val="600"/>
              </a:spcBef>
              <a:spcAft>
                <a:spcPts val="0"/>
              </a:spcAft>
              <a:buSzPts val="1400"/>
              <a:buChar char="▪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-"/>
              <a:defRPr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-"/>
              <a:defRPr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-"/>
              <a:defRPr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-"/>
              <a:defRPr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-"/>
              <a:defRPr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-"/>
              <a:defRPr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-"/>
              <a:defRPr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-"/>
              <a:defRPr/>
            </a:lvl9pPr>
          </a:lstStyle>
          <a:p>
            <a:endParaRPr/>
          </a:p>
        </p:txBody>
      </p:sp>
      <p:sp>
        <p:nvSpPr>
          <p:cNvPr id="37" name="Google Shape;37;p6"/>
          <p:cNvSpPr txBox="1">
            <a:spLocks noGrp="1"/>
          </p:cNvSpPr>
          <p:nvPr>
            <p:ph type="sldNum" idx="12"/>
          </p:nvPr>
        </p:nvSpPr>
        <p:spPr>
          <a:xfrm>
            <a:off x="8556784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 with intro text">
  <p:cSld name="TITLE_AND_BODY_1_2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8"/>
          <p:cNvSpPr/>
          <p:nvPr/>
        </p:nvSpPr>
        <p:spPr>
          <a:xfrm flipH="1">
            <a:off x="2472375" y="0"/>
            <a:ext cx="113100" cy="5143500"/>
          </a:xfrm>
          <a:prstGeom prst="rect">
            <a:avLst/>
          </a:prstGeom>
          <a:gradFill>
            <a:gsLst>
              <a:gs pos="0">
                <a:srgbClr val="000014">
                  <a:alpha val="20000"/>
                </a:srgbClr>
              </a:gs>
              <a:gs pos="100000">
                <a:srgbClr val="000014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" name="Google Shape;47;p8"/>
          <p:cNvSpPr/>
          <p:nvPr/>
        </p:nvSpPr>
        <p:spPr>
          <a:xfrm>
            <a:off x="2585475" y="0"/>
            <a:ext cx="6558600" cy="51435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" name="Google Shape;48;p8"/>
          <p:cNvSpPr txBox="1">
            <a:spLocks noGrp="1"/>
          </p:cNvSpPr>
          <p:nvPr>
            <p:ph type="title"/>
          </p:nvPr>
        </p:nvSpPr>
        <p:spPr>
          <a:xfrm>
            <a:off x="234450" y="575500"/>
            <a:ext cx="2046300" cy="39810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8"/>
          <p:cNvSpPr txBox="1">
            <a:spLocks noGrp="1"/>
          </p:cNvSpPr>
          <p:nvPr>
            <p:ph type="body" idx="1"/>
          </p:nvPr>
        </p:nvSpPr>
        <p:spPr>
          <a:xfrm>
            <a:off x="3090625" y="575500"/>
            <a:ext cx="5596200" cy="12078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200" lvl="0" indent="-330200" rtl="0">
              <a:spcBef>
                <a:spcPts val="600"/>
              </a:spcBef>
              <a:spcAft>
                <a:spcPts val="0"/>
              </a:spcAft>
              <a:buClr>
                <a:srgbClr val="F67031"/>
              </a:buClr>
              <a:buSzPts val="1600"/>
              <a:buFont typeface="Georgia"/>
              <a:buChar char="▪"/>
              <a:defRPr sz="1600" i="1">
                <a:solidFill>
                  <a:srgbClr val="F6703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L="914400" lvl="1" indent="-330200" rtl="0">
              <a:spcBef>
                <a:spcPts val="0"/>
              </a:spcBef>
              <a:spcAft>
                <a:spcPts val="0"/>
              </a:spcAft>
              <a:buClr>
                <a:srgbClr val="F67031"/>
              </a:buClr>
              <a:buSzPts val="1600"/>
              <a:buFont typeface="Georgia"/>
              <a:buChar char="-"/>
              <a:defRPr sz="1600" i="1">
                <a:solidFill>
                  <a:srgbClr val="F67031"/>
                </a:solidFill>
                <a:latin typeface="Georgia"/>
                <a:ea typeface="Georgia"/>
                <a:cs typeface="Georgia"/>
                <a:sym typeface="Georgia"/>
              </a:defRPr>
            </a:lvl2pPr>
            <a:lvl3pPr marL="1371600" lvl="2" indent="-330200" rtl="0">
              <a:spcBef>
                <a:spcPts val="0"/>
              </a:spcBef>
              <a:spcAft>
                <a:spcPts val="0"/>
              </a:spcAft>
              <a:buClr>
                <a:srgbClr val="F67031"/>
              </a:buClr>
              <a:buSzPts val="1600"/>
              <a:buFont typeface="Georgia"/>
              <a:buChar char="-"/>
              <a:defRPr sz="1600" i="1">
                <a:solidFill>
                  <a:srgbClr val="F67031"/>
                </a:solidFill>
                <a:latin typeface="Georgia"/>
                <a:ea typeface="Georgia"/>
                <a:cs typeface="Georgia"/>
                <a:sym typeface="Georgia"/>
              </a:defRPr>
            </a:lvl3pPr>
            <a:lvl4pPr marL="1828800" lvl="3" indent="-330200" rtl="0">
              <a:spcBef>
                <a:spcPts val="0"/>
              </a:spcBef>
              <a:spcAft>
                <a:spcPts val="0"/>
              </a:spcAft>
              <a:buClr>
                <a:srgbClr val="F67031"/>
              </a:buClr>
              <a:buSzPts val="1600"/>
              <a:buFont typeface="Georgia"/>
              <a:buChar char="-"/>
              <a:defRPr sz="1600" i="1">
                <a:solidFill>
                  <a:srgbClr val="F67031"/>
                </a:solidFill>
                <a:latin typeface="Georgia"/>
                <a:ea typeface="Georgia"/>
                <a:cs typeface="Georgia"/>
                <a:sym typeface="Georgia"/>
              </a:defRPr>
            </a:lvl4pPr>
            <a:lvl5pPr marL="2286000" lvl="4" indent="-330200" rtl="0">
              <a:spcBef>
                <a:spcPts val="0"/>
              </a:spcBef>
              <a:spcAft>
                <a:spcPts val="0"/>
              </a:spcAft>
              <a:buClr>
                <a:srgbClr val="F67031"/>
              </a:buClr>
              <a:buSzPts val="1600"/>
              <a:buFont typeface="Georgia"/>
              <a:buChar char="-"/>
              <a:defRPr sz="1600" i="1">
                <a:solidFill>
                  <a:srgbClr val="F67031"/>
                </a:solidFill>
                <a:latin typeface="Georgia"/>
                <a:ea typeface="Georgia"/>
                <a:cs typeface="Georgia"/>
                <a:sym typeface="Georgia"/>
              </a:defRPr>
            </a:lvl5pPr>
            <a:lvl6pPr marL="2743200" lvl="5" indent="-330200" rtl="0">
              <a:spcBef>
                <a:spcPts val="0"/>
              </a:spcBef>
              <a:spcAft>
                <a:spcPts val="0"/>
              </a:spcAft>
              <a:buClr>
                <a:srgbClr val="F67031"/>
              </a:buClr>
              <a:buSzPts val="1600"/>
              <a:buFont typeface="Georgia"/>
              <a:buChar char="-"/>
              <a:defRPr sz="1600" i="1">
                <a:solidFill>
                  <a:srgbClr val="F67031"/>
                </a:solidFill>
                <a:latin typeface="Georgia"/>
                <a:ea typeface="Georgia"/>
                <a:cs typeface="Georgia"/>
                <a:sym typeface="Georgia"/>
              </a:defRPr>
            </a:lvl6pPr>
            <a:lvl7pPr marL="3200400" lvl="6" indent="-330200" rtl="0">
              <a:spcBef>
                <a:spcPts val="0"/>
              </a:spcBef>
              <a:spcAft>
                <a:spcPts val="0"/>
              </a:spcAft>
              <a:buClr>
                <a:srgbClr val="F67031"/>
              </a:buClr>
              <a:buSzPts val="1600"/>
              <a:buFont typeface="Georgia"/>
              <a:buChar char="-"/>
              <a:defRPr sz="1600" i="1">
                <a:solidFill>
                  <a:srgbClr val="F67031"/>
                </a:solidFill>
                <a:latin typeface="Georgia"/>
                <a:ea typeface="Georgia"/>
                <a:cs typeface="Georgia"/>
                <a:sym typeface="Georgia"/>
              </a:defRPr>
            </a:lvl7pPr>
            <a:lvl8pPr marL="3657600" lvl="7" indent="-330200" rtl="0">
              <a:spcBef>
                <a:spcPts val="0"/>
              </a:spcBef>
              <a:spcAft>
                <a:spcPts val="0"/>
              </a:spcAft>
              <a:buClr>
                <a:srgbClr val="F67031"/>
              </a:buClr>
              <a:buSzPts val="1600"/>
              <a:buFont typeface="Georgia"/>
              <a:buChar char="-"/>
              <a:defRPr sz="1600" i="1">
                <a:solidFill>
                  <a:srgbClr val="F67031"/>
                </a:solidFill>
                <a:latin typeface="Georgia"/>
                <a:ea typeface="Georgia"/>
                <a:cs typeface="Georgia"/>
                <a:sym typeface="Georgia"/>
              </a:defRPr>
            </a:lvl8pPr>
            <a:lvl9pPr marL="4114800" lvl="8" indent="-330200" rtl="0">
              <a:spcBef>
                <a:spcPts val="0"/>
              </a:spcBef>
              <a:spcAft>
                <a:spcPts val="0"/>
              </a:spcAft>
              <a:buClr>
                <a:srgbClr val="F67031"/>
              </a:buClr>
              <a:buSzPts val="1600"/>
              <a:buFont typeface="Georgia"/>
              <a:buChar char="-"/>
              <a:defRPr sz="1600" i="1">
                <a:solidFill>
                  <a:srgbClr val="F67031"/>
                </a:solidFill>
                <a:latin typeface="Georgia"/>
                <a:ea typeface="Georgia"/>
                <a:cs typeface="Georgia"/>
                <a:sym typeface="Georgia"/>
              </a:defRPr>
            </a:lvl9pPr>
          </a:lstStyle>
          <a:p>
            <a:endParaRPr/>
          </a:p>
        </p:txBody>
      </p:sp>
      <p:sp>
        <p:nvSpPr>
          <p:cNvPr id="50" name="Google Shape;50;p8"/>
          <p:cNvSpPr txBox="1">
            <a:spLocks noGrp="1"/>
          </p:cNvSpPr>
          <p:nvPr>
            <p:ph type="sldNum" idx="12"/>
          </p:nvPr>
        </p:nvSpPr>
        <p:spPr>
          <a:xfrm>
            <a:off x="8556784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nº›</a:t>
            </a:fld>
            <a:endParaRPr/>
          </a:p>
        </p:txBody>
      </p:sp>
      <p:sp>
        <p:nvSpPr>
          <p:cNvPr id="51" name="Google Shape;51;p8"/>
          <p:cNvSpPr txBox="1">
            <a:spLocks noGrp="1"/>
          </p:cNvSpPr>
          <p:nvPr>
            <p:ph type="body" idx="2"/>
          </p:nvPr>
        </p:nvSpPr>
        <p:spPr>
          <a:xfrm>
            <a:off x="3090625" y="2004325"/>
            <a:ext cx="2727000" cy="25521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200" lvl="0" indent="-298450" rtl="0">
              <a:spcBef>
                <a:spcPts val="600"/>
              </a:spcBef>
              <a:spcAft>
                <a:spcPts val="0"/>
              </a:spcAft>
              <a:buSzPts val="1100"/>
              <a:buChar char="▪"/>
              <a:defRPr sz="1100"/>
            </a:lvl1pPr>
            <a:lvl2pPr marL="914400" lvl="1" indent="-298450" rtl="0">
              <a:spcBef>
                <a:spcPts val="0"/>
              </a:spcBef>
              <a:spcAft>
                <a:spcPts val="0"/>
              </a:spcAft>
              <a:buSzPts val="1100"/>
              <a:buChar char="-"/>
              <a:defRPr sz="1100"/>
            </a:lvl2pPr>
            <a:lvl3pPr marL="1371600" lvl="2" indent="-298450" rtl="0">
              <a:spcBef>
                <a:spcPts val="0"/>
              </a:spcBef>
              <a:spcAft>
                <a:spcPts val="0"/>
              </a:spcAft>
              <a:buSzPts val="1100"/>
              <a:buChar char="-"/>
              <a:defRPr sz="1100"/>
            </a:lvl3pPr>
            <a:lvl4pPr marL="1828800" lvl="3" indent="-298450" rtl="0">
              <a:spcBef>
                <a:spcPts val="0"/>
              </a:spcBef>
              <a:spcAft>
                <a:spcPts val="0"/>
              </a:spcAft>
              <a:buSzPts val="1100"/>
              <a:buChar char="-"/>
              <a:defRPr sz="1100"/>
            </a:lvl4pPr>
            <a:lvl5pPr marL="2286000" lvl="4" indent="-298450" rtl="0">
              <a:spcBef>
                <a:spcPts val="0"/>
              </a:spcBef>
              <a:spcAft>
                <a:spcPts val="0"/>
              </a:spcAft>
              <a:buSzPts val="1100"/>
              <a:buChar char="-"/>
              <a:defRPr sz="1100"/>
            </a:lvl5pPr>
            <a:lvl6pPr marL="2743200" lvl="5" indent="-298450" rtl="0">
              <a:spcBef>
                <a:spcPts val="0"/>
              </a:spcBef>
              <a:spcAft>
                <a:spcPts val="0"/>
              </a:spcAft>
              <a:buSzPts val="1100"/>
              <a:buChar char="-"/>
              <a:defRPr sz="1100"/>
            </a:lvl6pPr>
            <a:lvl7pPr marL="3200400" lvl="6" indent="-298450" rtl="0">
              <a:spcBef>
                <a:spcPts val="0"/>
              </a:spcBef>
              <a:spcAft>
                <a:spcPts val="0"/>
              </a:spcAft>
              <a:buSzPts val="1100"/>
              <a:buChar char="-"/>
              <a:defRPr sz="1100"/>
            </a:lvl7pPr>
            <a:lvl8pPr marL="3657600" lvl="7" indent="-298450" rtl="0">
              <a:spcBef>
                <a:spcPts val="0"/>
              </a:spcBef>
              <a:spcAft>
                <a:spcPts val="0"/>
              </a:spcAft>
              <a:buSzPts val="1100"/>
              <a:buChar char="-"/>
              <a:defRPr sz="1100"/>
            </a:lvl8pPr>
            <a:lvl9pPr marL="4114800" lvl="8" indent="-298450" rtl="0">
              <a:spcBef>
                <a:spcPts val="0"/>
              </a:spcBef>
              <a:spcAft>
                <a:spcPts val="0"/>
              </a:spcAft>
              <a:buSzPts val="1100"/>
              <a:buChar char="-"/>
              <a:defRPr sz="1100"/>
            </a:lvl9pPr>
          </a:lstStyle>
          <a:p>
            <a:endParaRPr/>
          </a:p>
        </p:txBody>
      </p:sp>
      <p:sp>
        <p:nvSpPr>
          <p:cNvPr id="52" name="Google Shape;52;p8"/>
          <p:cNvSpPr txBox="1">
            <a:spLocks noGrp="1"/>
          </p:cNvSpPr>
          <p:nvPr>
            <p:ph type="body" idx="3"/>
          </p:nvPr>
        </p:nvSpPr>
        <p:spPr>
          <a:xfrm>
            <a:off x="5959744" y="2004325"/>
            <a:ext cx="2727000" cy="25521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200" lvl="0" indent="-298450" rtl="0">
              <a:spcBef>
                <a:spcPts val="600"/>
              </a:spcBef>
              <a:spcAft>
                <a:spcPts val="0"/>
              </a:spcAft>
              <a:buSzPts val="1100"/>
              <a:buChar char="▪"/>
              <a:defRPr sz="1100"/>
            </a:lvl1pPr>
            <a:lvl2pPr marL="914400" lvl="1" indent="-298450" rtl="0">
              <a:spcBef>
                <a:spcPts val="0"/>
              </a:spcBef>
              <a:spcAft>
                <a:spcPts val="0"/>
              </a:spcAft>
              <a:buSzPts val="1100"/>
              <a:buChar char="-"/>
              <a:defRPr sz="1100"/>
            </a:lvl2pPr>
            <a:lvl3pPr marL="1371600" lvl="2" indent="-298450" rtl="0">
              <a:spcBef>
                <a:spcPts val="0"/>
              </a:spcBef>
              <a:spcAft>
                <a:spcPts val="0"/>
              </a:spcAft>
              <a:buSzPts val="1100"/>
              <a:buChar char="-"/>
              <a:defRPr sz="1100"/>
            </a:lvl3pPr>
            <a:lvl4pPr marL="1828800" lvl="3" indent="-298450" rtl="0">
              <a:spcBef>
                <a:spcPts val="0"/>
              </a:spcBef>
              <a:spcAft>
                <a:spcPts val="0"/>
              </a:spcAft>
              <a:buSzPts val="1100"/>
              <a:buChar char="-"/>
              <a:defRPr sz="1100"/>
            </a:lvl4pPr>
            <a:lvl5pPr marL="2286000" lvl="4" indent="-298450" rtl="0">
              <a:spcBef>
                <a:spcPts val="0"/>
              </a:spcBef>
              <a:spcAft>
                <a:spcPts val="0"/>
              </a:spcAft>
              <a:buSzPts val="1100"/>
              <a:buChar char="-"/>
              <a:defRPr sz="1100"/>
            </a:lvl5pPr>
            <a:lvl6pPr marL="2743200" lvl="5" indent="-298450" rtl="0">
              <a:spcBef>
                <a:spcPts val="0"/>
              </a:spcBef>
              <a:spcAft>
                <a:spcPts val="0"/>
              </a:spcAft>
              <a:buSzPts val="1100"/>
              <a:buChar char="-"/>
              <a:defRPr sz="1100"/>
            </a:lvl6pPr>
            <a:lvl7pPr marL="3200400" lvl="6" indent="-298450" rtl="0">
              <a:spcBef>
                <a:spcPts val="0"/>
              </a:spcBef>
              <a:spcAft>
                <a:spcPts val="0"/>
              </a:spcAft>
              <a:buSzPts val="1100"/>
              <a:buChar char="-"/>
              <a:defRPr sz="1100"/>
            </a:lvl7pPr>
            <a:lvl8pPr marL="3657600" lvl="7" indent="-298450" rtl="0">
              <a:spcBef>
                <a:spcPts val="0"/>
              </a:spcBef>
              <a:spcAft>
                <a:spcPts val="0"/>
              </a:spcAft>
              <a:buSzPts val="1100"/>
              <a:buChar char="-"/>
              <a:defRPr sz="1100"/>
            </a:lvl8pPr>
            <a:lvl9pPr marL="4114800" lvl="8" indent="-298450" rtl="0">
              <a:spcBef>
                <a:spcPts val="0"/>
              </a:spcBef>
              <a:spcAft>
                <a:spcPts val="0"/>
              </a:spcAft>
              <a:buSzPts val="1100"/>
              <a:buChar char="-"/>
              <a:defRPr sz="11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14"/>
          <p:cNvSpPr txBox="1">
            <a:spLocks noGrp="1"/>
          </p:cNvSpPr>
          <p:nvPr>
            <p:ph type="sldNum" idx="12"/>
          </p:nvPr>
        </p:nvSpPr>
        <p:spPr>
          <a:xfrm>
            <a:off x="8556784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>
                <a:solidFill>
                  <a:srgbClr val="FFFFFF"/>
                </a:solidFill>
              </a:defRPr>
            </a:lvl1pPr>
            <a:lvl2pPr lvl="1">
              <a:buNone/>
              <a:defRPr>
                <a:solidFill>
                  <a:srgbClr val="FFFFFF"/>
                </a:solidFill>
              </a:defRPr>
            </a:lvl2pPr>
            <a:lvl3pPr lvl="2">
              <a:buNone/>
              <a:defRPr>
                <a:solidFill>
                  <a:srgbClr val="FFFFFF"/>
                </a:solidFill>
              </a:defRPr>
            </a:lvl3pPr>
            <a:lvl4pPr lvl="3">
              <a:buNone/>
              <a:defRPr>
                <a:solidFill>
                  <a:srgbClr val="FFFFFF"/>
                </a:solidFill>
              </a:defRPr>
            </a:lvl4pPr>
            <a:lvl5pPr lvl="4">
              <a:buNone/>
              <a:defRPr>
                <a:solidFill>
                  <a:srgbClr val="FFFFFF"/>
                </a:solidFill>
              </a:defRPr>
            </a:lvl5pPr>
            <a:lvl6pPr lvl="5">
              <a:buNone/>
              <a:defRPr>
                <a:solidFill>
                  <a:srgbClr val="FFFFFF"/>
                </a:solidFill>
              </a:defRPr>
            </a:lvl6pPr>
            <a:lvl7pPr lvl="6">
              <a:buNone/>
              <a:defRPr>
                <a:solidFill>
                  <a:srgbClr val="FFFFFF"/>
                </a:solidFill>
              </a:defRPr>
            </a:lvl7pPr>
            <a:lvl8pPr lvl="7">
              <a:buNone/>
              <a:defRPr>
                <a:solidFill>
                  <a:srgbClr val="FFFFFF"/>
                </a:solidFill>
              </a:defRPr>
            </a:lvl8pPr>
            <a:lvl9pPr lvl="8">
              <a:buNone/>
              <a:defRPr>
                <a:solidFill>
                  <a:srgbClr val="FFFFFF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">
    <p:bg>
      <p:bgPr>
        <a:blipFill dpi="0"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9F03F152-E288-4FFE-9759-C7057D6B6C73}"/>
              </a:ext>
            </a:extLst>
          </p:cNvPr>
          <p:cNvSpPr/>
          <p:nvPr userDrawn="1"/>
        </p:nvSpPr>
        <p:spPr>
          <a:xfrm>
            <a:off x="0" y="0"/>
            <a:ext cx="1978425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05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913F60E8-1574-4674-BB0C-C4378F37B13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276999" y="2166750"/>
            <a:ext cx="6735936" cy="1121846"/>
          </a:xfrm>
        </p:spPr>
        <p:txBody>
          <a:bodyPr anchor="t"/>
          <a:lstStyle>
            <a:lvl1pPr algn="l">
              <a:defRPr sz="405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</a:t>
            </a:r>
            <a:br>
              <a:rPr lang="fr-FR" dirty="0"/>
            </a:br>
            <a:r>
              <a:rPr lang="fr-FR" dirty="0"/>
              <a:t>du titr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906B3A-BEF9-459F-A2ED-B20D9CDC8FD8}"/>
              </a:ext>
            </a:extLst>
          </p:cNvPr>
          <p:cNvSpPr/>
          <p:nvPr userDrawn="1"/>
        </p:nvSpPr>
        <p:spPr>
          <a:xfrm>
            <a:off x="1978426" y="1792670"/>
            <a:ext cx="89297" cy="154047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050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9D0EAE64-CA23-4F7B-8DC6-E3740CD75C2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73094" y="1919728"/>
            <a:ext cx="1027094" cy="1272047"/>
          </a:xfrm>
          <a:prstGeom prst="rect">
            <a:avLst/>
          </a:prstGeom>
        </p:spPr>
      </p:pic>
      <p:sp>
        <p:nvSpPr>
          <p:cNvPr id="14" name="Espace réservé de la date 13">
            <a:extLst>
              <a:ext uri="{FF2B5EF4-FFF2-40B4-BE49-F238E27FC236}">
                <a16:creationId xmlns:a16="http://schemas.microsoft.com/office/drawing/2014/main" id="{DFA46C24-5486-4DD8-B19C-E170EC70485A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2277000" y="1978137"/>
            <a:ext cx="668453" cy="103874"/>
          </a:xfrm>
        </p:spPr>
        <p:txBody>
          <a:bodyPr wrap="none" lIns="0" tIns="0" rIns="0" bIns="0">
            <a:spAutoFit/>
          </a:bodyPr>
          <a:lstStyle>
            <a:lvl1pPr>
              <a:defRPr sz="675" spc="225">
                <a:solidFill>
                  <a:schemeClr val="bg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11" name="Espace réservé du pied de page 3">
            <a:extLst>
              <a:ext uri="{FF2B5EF4-FFF2-40B4-BE49-F238E27FC236}">
                <a16:creationId xmlns:a16="http://schemas.microsoft.com/office/drawing/2014/main" id="{96703941-FFD7-41CF-87D6-F2B2F6EBB3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76999" y="3595966"/>
            <a:ext cx="2625719" cy="21544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fr-FR" spc="225" smtClean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GROUP PRESENTATION</a:t>
            </a:r>
          </a:p>
        </p:txBody>
      </p:sp>
    </p:spTree>
    <p:extLst>
      <p:ext uri="{BB962C8B-B14F-4D97-AF65-F5344CB8AC3E}">
        <p14:creationId xmlns:p14="http://schemas.microsoft.com/office/powerpoint/2010/main" val="2154062676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C69AE9-5538-4CED-96BC-9E3CC2078F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127185"/>
            <a:ext cx="8640000" cy="844366"/>
          </a:xfrm>
          <a:prstGeom prst="rect">
            <a:avLst/>
          </a:prstGeom>
          <a:blipFill>
            <a:blip r:embed="rId2"/>
            <a:stretch>
              <a:fillRect l="938" r="-938"/>
            </a:stretch>
          </a:blipFill>
        </p:spPr>
        <p:txBody>
          <a:bodyPr lIns="90000" tIns="108000" bIns="0" anchor="t">
            <a:no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36127F1-FD95-4357-A7B5-CA95046322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2000" y="1278900"/>
            <a:ext cx="8640000" cy="3125701"/>
          </a:xfrm>
        </p:spPr>
        <p:txBody>
          <a:bodyPr/>
          <a:lstStyle>
            <a:lvl2pPr>
              <a:spcBef>
                <a:spcPts val="450"/>
              </a:spcBef>
              <a:defRPr/>
            </a:lvl2pPr>
            <a:lvl3pPr>
              <a:spcBef>
                <a:spcPts val="450"/>
              </a:spcBef>
              <a:defRPr/>
            </a:lvl3pPr>
          </a:lstStyle>
          <a:p>
            <a:pPr lvl="0"/>
            <a:r>
              <a:rPr lang="en-GB" dirty="0"/>
              <a:t>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Quatr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9" name="Espace réservé du pied de page 8">
            <a:extLst>
              <a:ext uri="{FF2B5EF4-FFF2-40B4-BE49-F238E27FC236}">
                <a16:creationId xmlns:a16="http://schemas.microsoft.com/office/drawing/2014/main" id="{BA1312D9-81A7-4FBA-9E44-636643A1B3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333333">
                    <a:tint val="75000"/>
                  </a:srgbClr>
                </a:solidFill>
              </a:rPr>
              <a:t>Africa kick-off meeting – 2019, January 22TH – 24TH</a:t>
            </a:r>
            <a:endParaRPr lang="en-GB" dirty="0">
              <a:solidFill>
                <a:srgbClr val="333333">
                  <a:tint val="75000"/>
                </a:srgbClr>
              </a:solidFill>
            </a:endParaRPr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778DB922-087F-4EFE-980D-3654B8668F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>
                <a:solidFill>
                  <a:srgbClr val="333333">
                    <a:tint val="75000"/>
                  </a:srgbClr>
                </a:solidFill>
              </a:rPr>
              <a:t>Slide / </a:t>
            </a:r>
            <a:fld id="{3EA6A558-C4CA-4506-B5EC-E793D5AE9532}" type="slidenum">
              <a:rPr lang="en-GB" smtClean="0">
                <a:solidFill>
                  <a:srgbClr val="333333">
                    <a:tint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333333">
                  <a:tint val="75000"/>
                </a:srgbClr>
              </a:solidFill>
            </a:endParaRPr>
          </a:p>
        </p:txBody>
      </p:sp>
      <p:grpSp>
        <p:nvGrpSpPr>
          <p:cNvPr id="6" name="Group 452"/>
          <p:cNvGrpSpPr>
            <a:grpSpLocks/>
          </p:cNvGrpSpPr>
          <p:nvPr userDrawn="1"/>
        </p:nvGrpSpPr>
        <p:grpSpPr bwMode="auto">
          <a:xfrm>
            <a:off x="-1368000" y="401615"/>
            <a:ext cx="1187450" cy="547687"/>
            <a:chOff x="-794" y="505"/>
            <a:chExt cx="748" cy="460"/>
          </a:xfrm>
        </p:grpSpPr>
        <p:sp>
          <p:nvSpPr>
            <p:cNvPr id="7" name="Rectangle 453"/>
            <p:cNvSpPr>
              <a:spLocks noChangeArrowheads="1"/>
            </p:cNvSpPr>
            <p:nvPr userDrawn="1"/>
          </p:nvSpPr>
          <p:spPr bwMode="auto">
            <a:xfrm>
              <a:off x="-749" y="563"/>
              <a:ext cx="703" cy="2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r" eaLnBrk="1" hangingPunct="1">
                <a:spcBef>
                  <a:spcPct val="50000"/>
                </a:spcBef>
                <a:defRPr/>
              </a:pPr>
              <a:r>
                <a:rPr lang="en-US" altLang="en-US" sz="750" dirty="0">
                  <a:solidFill>
                    <a:srgbClr val="333333"/>
                  </a:solidFill>
                </a:rPr>
                <a:t>Do not put content </a:t>
              </a:r>
              <a:br>
                <a:rPr lang="en-US" altLang="en-US" sz="750" dirty="0">
                  <a:solidFill>
                    <a:srgbClr val="333333"/>
                  </a:solidFill>
                </a:rPr>
              </a:br>
              <a:r>
                <a:rPr lang="en-US" altLang="en-US" sz="750" dirty="0">
                  <a:solidFill>
                    <a:srgbClr val="333333"/>
                  </a:solidFill>
                </a:rPr>
                <a:t>in the Title Area above this guide</a:t>
              </a:r>
            </a:p>
          </p:txBody>
        </p:sp>
        <p:sp>
          <p:nvSpPr>
            <p:cNvPr id="8" name="Freeform 454"/>
            <p:cNvSpPr>
              <a:spLocks/>
            </p:cNvSpPr>
            <p:nvPr userDrawn="1"/>
          </p:nvSpPr>
          <p:spPr bwMode="auto">
            <a:xfrm>
              <a:off x="-794" y="505"/>
              <a:ext cx="748" cy="460"/>
            </a:xfrm>
            <a:custGeom>
              <a:avLst/>
              <a:gdLst>
                <a:gd name="T0" fmla="*/ 0 w 748"/>
                <a:gd name="T1" fmla="*/ 0 h 330"/>
                <a:gd name="T2" fmla="*/ 2 w 748"/>
                <a:gd name="T3" fmla="*/ 14644 h 330"/>
                <a:gd name="T4" fmla="*/ 748 w 748"/>
                <a:gd name="T5" fmla="*/ 14718 h 33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48" h="330">
                  <a:moveTo>
                    <a:pt x="0" y="0"/>
                  </a:moveTo>
                  <a:lnTo>
                    <a:pt x="2" y="328"/>
                  </a:lnTo>
                  <a:lnTo>
                    <a:pt x="748" y="330"/>
                  </a:lnTo>
                </a:path>
              </a:pathLst>
            </a:custGeom>
            <a:noFill/>
            <a:ln w="19050">
              <a:solidFill>
                <a:schemeClr val="tx1"/>
              </a:solidFill>
              <a:prstDash val="dash"/>
              <a:round/>
              <a:headEnd/>
              <a:tailEnd type="triangle" w="lg" len="lg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180000" rIns="180000" bIns="180000" anchor="ctr">
              <a:spAutoFit/>
            </a:bodyPr>
            <a:lstStyle/>
            <a:p>
              <a:endParaRPr lang="en-GB" sz="1200">
                <a:solidFill>
                  <a:srgbClr val="333333"/>
                </a:solidFill>
              </a:endParaRPr>
            </a:p>
          </p:txBody>
        </p:sp>
      </p:grpSp>
      <p:grpSp>
        <p:nvGrpSpPr>
          <p:cNvPr id="11" name="Group 491"/>
          <p:cNvGrpSpPr>
            <a:grpSpLocks/>
          </p:cNvGrpSpPr>
          <p:nvPr userDrawn="1"/>
        </p:nvGrpSpPr>
        <p:grpSpPr bwMode="auto">
          <a:xfrm flipH="1">
            <a:off x="9297001" y="426140"/>
            <a:ext cx="1187450" cy="547687"/>
            <a:chOff x="-794" y="505"/>
            <a:chExt cx="748" cy="460"/>
          </a:xfrm>
        </p:grpSpPr>
        <p:sp>
          <p:nvSpPr>
            <p:cNvPr id="12" name="Rectangle 492"/>
            <p:cNvSpPr>
              <a:spLocks noChangeArrowheads="1"/>
            </p:cNvSpPr>
            <p:nvPr userDrawn="1"/>
          </p:nvSpPr>
          <p:spPr bwMode="auto">
            <a:xfrm>
              <a:off x="-749" y="563"/>
              <a:ext cx="703" cy="2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r" eaLnBrk="1" hangingPunct="1">
                <a:spcBef>
                  <a:spcPct val="50000"/>
                </a:spcBef>
                <a:defRPr/>
              </a:pPr>
              <a:r>
                <a:rPr lang="en-US" altLang="en-US" sz="750" dirty="0">
                  <a:solidFill>
                    <a:srgbClr val="333333"/>
                  </a:solidFill>
                </a:rPr>
                <a:t>Do not put content </a:t>
              </a:r>
              <a:br>
                <a:rPr lang="en-US" altLang="en-US" sz="750" dirty="0">
                  <a:solidFill>
                    <a:srgbClr val="333333"/>
                  </a:solidFill>
                </a:rPr>
              </a:br>
              <a:r>
                <a:rPr lang="en-US" altLang="en-US" sz="750" dirty="0">
                  <a:solidFill>
                    <a:srgbClr val="333333"/>
                  </a:solidFill>
                </a:rPr>
                <a:t>in the Title Area above this guide</a:t>
              </a:r>
            </a:p>
          </p:txBody>
        </p:sp>
        <p:sp>
          <p:nvSpPr>
            <p:cNvPr id="13" name="Freeform 493"/>
            <p:cNvSpPr>
              <a:spLocks/>
            </p:cNvSpPr>
            <p:nvPr userDrawn="1"/>
          </p:nvSpPr>
          <p:spPr bwMode="auto">
            <a:xfrm>
              <a:off x="-794" y="505"/>
              <a:ext cx="748" cy="460"/>
            </a:xfrm>
            <a:custGeom>
              <a:avLst/>
              <a:gdLst>
                <a:gd name="T0" fmla="*/ 0 w 748"/>
                <a:gd name="T1" fmla="*/ 0 h 330"/>
                <a:gd name="T2" fmla="*/ 2 w 748"/>
                <a:gd name="T3" fmla="*/ 14644 h 330"/>
                <a:gd name="T4" fmla="*/ 748 w 748"/>
                <a:gd name="T5" fmla="*/ 14718 h 33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48" h="330">
                  <a:moveTo>
                    <a:pt x="0" y="0"/>
                  </a:moveTo>
                  <a:lnTo>
                    <a:pt x="2" y="328"/>
                  </a:lnTo>
                  <a:lnTo>
                    <a:pt x="748" y="330"/>
                  </a:lnTo>
                </a:path>
              </a:pathLst>
            </a:custGeom>
            <a:noFill/>
            <a:ln w="19050">
              <a:solidFill>
                <a:schemeClr val="tx1"/>
              </a:solidFill>
              <a:prstDash val="dash"/>
              <a:round/>
              <a:headEnd/>
              <a:tailEnd type="triangle" w="lg" len="lg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180000" rIns="180000" bIns="180000" anchor="ctr">
              <a:spAutoFit/>
            </a:bodyPr>
            <a:lstStyle/>
            <a:p>
              <a:endParaRPr lang="en-GB" sz="1200">
                <a:solidFill>
                  <a:srgbClr val="333333"/>
                </a:solidFill>
              </a:endParaRPr>
            </a:p>
          </p:txBody>
        </p:sp>
      </p:grpSp>
      <p:grpSp>
        <p:nvGrpSpPr>
          <p:cNvPr id="14" name="Group 448"/>
          <p:cNvGrpSpPr>
            <a:grpSpLocks/>
          </p:cNvGrpSpPr>
          <p:nvPr userDrawn="1"/>
        </p:nvGrpSpPr>
        <p:grpSpPr bwMode="auto">
          <a:xfrm>
            <a:off x="-1503000" y="4461750"/>
            <a:ext cx="1403350" cy="681750"/>
            <a:chOff x="-1053" y="4020"/>
            <a:chExt cx="1007" cy="300"/>
          </a:xfrm>
        </p:grpSpPr>
        <p:sp>
          <p:nvSpPr>
            <p:cNvPr id="15" name="Rectangle 449"/>
            <p:cNvSpPr>
              <a:spLocks noChangeArrowheads="1"/>
            </p:cNvSpPr>
            <p:nvPr userDrawn="1"/>
          </p:nvSpPr>
          <p:spPr bwMode="auto">
            <a:xfrm>
              <a:off x="-1053" y="4120"/>
              <a:ext cx="1007" cy="1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r" eaLnBrk="1" hangingPunct="1">
                <a:spcBef>
                  <a:spcPct val="50000"/>
                </a:spcBef>
                <a:defRPr/>
              </a:pPr>
              <a:r>
                <a:rPr lang="en-US" altLang="en-US" sz="750" dirty="0">
                  <a:solidFill>
                    <a:srgbClr val="333333"/>
                  </a:solidFill>
                </a:rPr>
                <a:t>Do not put content in </a:t>
              </a:r>
              <a:br>
                <a:rPr lang="en-US" altLang="en-US" sz="750" dirty="0">
                  <a:solidFill>
                    <a:srgbClr val="333333"/>
                  </a:solidFill>
                </a:rPr>
              </a:br>
              <a:r>
                <a:rPr lang="en-US" altLang="en-US" sz="750" dirty="0">
                  <a:solidFill>
                    <a:srgbClr val="333333"/>
                  </a:solidFill>
                </a:rPr>
                <a:t>the Brand Signature area</a:t>
              </a:r>
            </a:p>
          </p:txBody>
        </p:sp>
        <p:sp>
          <p:nvSpPr>
            <p:cNvPr id="16" name="Line 450"/>
            <p:cNvSpPr>
              <a:spLocks noChangeShapeType="1"/>
            </p:cNvSpPr>
            <p:nvPr userDrawn="1"/>
          </p:nvSpPr>
          <p:spPr bwMode="auto">
            <a:xfrm>
              <a:off x="-622" y="4020"/>
              <a:ext cx="576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prstDash val="dash"/>
              <a:round/>
              <a:headEnd/>
              <a:tailEnd type="triangle" w="lg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180000" rIns="180000" bIns="180000" anchor="ctr">
              <a:spAutoFit/>
            </a:bodyPr>
            <a:lstStyle/>
            <a:p>
              <a:endParaRPr lang="en-GB" sz="1200">
                <a:solidFill>
                  <a:srgbClr val="333333"/>
                </a:solidFill>
              </a:endParaRPr>
            </a:p>
          </p:txBody>
        </p:sp>
        <p:sp>
          <p:nvSpPr>
            <p:cNvPr id="17" name="Line 451"/>
            <p:cNvSpPr>
              <a:spLocks noChangeShapeType="1"/>
            </p:cNvSpPr>
            <p:nvPr userDrawn="1"/>
          </p:nvSpPr>
          <p:spPr bwMode="auto">
            <a:xfrm>
              <a:off x="-622" y="4320"/>
              <a:ext cx="576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prstDash val="dash"/>
              <a:round/>
              <a:headEnd/>
              <a:tailEnd type="triangle" w="lg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180000" rIns="180000" bIns="180000" anchor="ctr">
              <a:spAutoFit/>
            </a:bodyPr>
            <a:lstStyle/>
            <a:p>
              <a:endParaRPr lang="en-GB" sz="1200">
                <a:solidFill>
                  <a:srgbClr val="333333"/>
                </a:solidFill>
              </a:endParaRPr>
            </a:p>
          </p:txBody>
        </p:sp>
      </p:grpSp>
      <p:grpSp>
        <p:nvGrpSpPr>
          <p:cNvPr id="18" name="Group 494"/>
          <p:cNvGrpSpPr>
            <a:grpSpLocks/>
          </p:cNvGrpSpPr>
          <p:nvPr userDrawn="1"/>
        </p:nvGrpSpPr>
        <p:grpSpPr bwMode="auto">
          <a:xfrm>
            <a:off x="9297000" y="4473838"/>
            <a:ext cx="1411287" cy="738899"/>
            <a:chOff x="5847" y="4020"/>
            <a:chExt cx="1007" cy="298"/>
          </a:xfrm>
        </p:grpSpPr>
        <p:sp>
          <p:nvSpPr>
            <p:cNvPr id="19" name="Rectangle 495"/>
            <p:cNvSpPr>
              <a:spLocks noChangeArrowheads="1"/>
            </p:cNvSpPr>
            <p:nvPr userDrawn="1"/>
          </p:nvSpPr>
          <p:spPr bwMode="auto">
            <a:xfrm>
              <a:off x="5847" y="4122"/>
              <a:ext cx="1007" cy="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50000"/>
                </a:spcBef>
                <a:defRPr/>
              </a:pPr>
              <a:r>
                <a:rPr lang="en-US" altLang="en-US" sz="750" dirty="0">
                  <a:solidFill>
                    <a:srgbClr val="333333"/>
                  </a:solidFill>
                </a:rPr>
                <a:t>Do not put content in the Brand Signature area</a:t>
              </a:r>
            </a:p>
          </p:txBody>
        </p:sp>
        <p:sp>
          <p:nvSpPr>
            <p:cNvPr id="20" name="Line 496"/>
            <p:cNvSpPr>
              <a:spLocks noChangeShapeType="1"/>
            </p:cNvSpPr>
            <p:nvPr userDrawn="1"/>
          </p:nvSpPr>
          <p:spPr bwMode="auto">
            <a:xfrm flipH="1">
              <a:off x="5847" y="4020"/>
              <a:ext cx="576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prstDash val="dash"/>
              <a:round/>
              <a:headEnd/>
              <a:tailEnd type="triangle" w="lg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180000" rIns="180000" bIns="180000" anchor="ctr">
              <a:spAutoFit/>
            </a:bodyPr>
            <a:lstStyle/>
            <a:p>
              <a:endParaRPr lang="en-GB" sz="1200">
                <a:solidFill>
                  <a:srgbClr val="333333"/>
                </a:solidFill>
              </a:endParaRPr>
            </a:p>
          </p:txBody>
        </p:sp>
        <p:sp>
          <p:nvSpPr>
            <p:cNvPr id="21" name="Line 497"/>
            <p:cNvSpPr>
              <a:spLocks noChangeShapeType="1"/>
            </p:cNvSpPr>
            <p:nvPr userDrawn="1"/>
          </p:nvSpPr>
          <p:spPr bwMode="auto">
            <a:xfrm flipH="1">
              <a:off x="5847" y="4318"/>
              <a:ext cx="576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prstDash val="dash"/>
              <a:round/>
              <a:headEnd/>
              <a:tailEnd type="triangle" w="lg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180000" rIns="180000" bIns="180000" anchor="ctr">
              <a:spAutoFit/>
            </a:bodyPr>
            <a:lstStyle/>
            <a:p>
              <a:endParaRPr lang="en-GB" sz="1200">
                <a:solidFill>
                  <a:srgbClr val="333333"/>
                </a:solidFill>
              </a:endParaRPr>
            </a:p>
          </p:txBody>
        </p:sp>
      </p:grpSp>
      <p:pic>
        <p:nvPicPr>
          <p:cNvPr id="26" name="Image 2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74"/>
          <a:stretch/>
        </p:blipFill>
        <p:spPr>
          <a:xfrm>
            <a:off x="9212298" y="992916"/>
            <a:ext cx="2379702" cy="3366535"/>
          </a:xfrm>
          <a:prstGeom prst="rect">
            <a:avLst/>
          </a:prstGeom>
        </p:spPr>
      </p:pic>
      <p:pic>
        <p:nvPicPr>
          <p:cNvPr id="27" name="Image 2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44112" y="1050686"/>
            <a:ext cx="1344462" cy="1324092"/>
          </a:xfrm>
          <a:prstGeom prst="rect">
            <a:avLst/>
          </a:prstGeom>
        </p:spPr>
      </p:pic>
      <p:pic>
        <p:nvPicPr>
          <p:cNvPr id="28" name="Image 2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83688" y="2597349"/>
            <a:ext cx="1415390" cy="1324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08132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">
    <p:bg>
      <p:bgPr>
        <a:solidFill>
          <a:srgbClr val="26D4A6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234450" y="575500"/>
            <a:ext cx="2046300" cy="398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Nunito Sans"/>
              <a:buNone/>
              <a:defRPr sz="2400">
                <a:solidFill>
                  <a:srgbClr val="FFFFFF"/>
                </a:solidFill>
                <a:latin typeface="Nunito Sans"/>
                <a:ea typeface="Nunito Sans"/>
                <a:cs typeface="Nunito Sans"/>
                <a:sym typeface="Nunito San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Nunito Sans"/>
              <a:buNone/>
              <a:defRPr sz="2400">
                <a:solidFill>
                  <a:srgbClr val="FFFFFF"/>
                </a:solidFill>
                <a:latin typeface="Nunito Sans"/>
                <a:ea typeface="Nunito Sans"/>
                <a:cs typeface="Nunito Sans"/>
                <a:sym typeface="Nunito Sans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Nunito Sans"/>
              <a:buNone/>
              <a:defRPr sz="2400">
                <a:solidFill>
                  <a:srgbClr val="FFFFFF"/>
                </a:solidFill>
                <a:latin typeface="Nunito Sans"/>
                <a:ea typeface="Nunito Sans"/>
                <a:cs typeface="Nunito Sans"/>
                <a:sym typeface="Nunito Sans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Nunito Sans"/>
              <a:buNone/>
              <a:defRPr sz="2400">
                <a:solidFill>
                  <a:srgbClr val="FFFFFF"/>
                </a:solidFill>
                <a:latin typeface="Nunito Sans"/>
                <a:ea typeface="Nunito Sans"/>
                <a:cs typeface="Nunito Sans"/>
                <a:sym typeface="Nunito Sans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Nunito Sans"/>
              <a:buNone/>
              <a:defRPr sz="2400">
                <a:solidFill>
                  <a:srgbClr val="FFFFFF"/>
                </a:solidFill>
                <a:latin typeface="Nunito Sans"/>
                <a:ea typeface="Nunito Sans"/>
                <a:cs typeface="Nunito Sans"/>
                <a:sym typeface="Nunito Sans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Nunito Sans"/>
              <a:buNone/>
              <a:defRPr sz="2400">
                <a:solidFill>
                  <a:srgbClr val="FFFFFF"/>
                </a:solidFill>
                <a:latin typeface="Nunito Sans"/>
                <a:ea typeface="Nunito Sans"/>
                <a:cs typeface="Nunito Sans"/>
                <a:sym typeface="Nunito Sans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Nunito Sans"/>
              <a:buNone/>
              <a:defRPr sz="2400">
                <a:solidFill>
                  <a:srgbClr val="FFFFFF"/>
                </a:solidFill>
                <a:latin typeface="Nunito Sans"/>
                <a:ea typeface="Nunito Sans"/>
                <a:cs typeface="Nunito Sans"/>
                <a:sym typeface="Nunito Sans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Nunito Sans"/>
              <a:buNone/>
              <a:defRPr sz="2400">
                <a:solidFill>
                  <a:srgbClr val="FFFFFF"/>
                </a:solidFill>
                <a:latin typeface="Nunito Sans"/>
                <a:ea typeface="Nunito Sans"/>
                <a:cs typeface="Nunito Sans"/>
                <a:sym typeface="Nunito Sans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Nunito Sans"/>
              <a:buNone/>
              <a:defRPr sz="2400">
                <a:solidFill>
                  <a:srgbClr val="FFFFFF"/>
                </a:solidFill>
                <a:latin typeface="Nunito Sans"/>
                <a:ea typeface="Nunito Sans"/>
                <a:cs typeface="Nunito Sans"/>
                <a:sym typeface="Nunito Sans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090625" y="575500"/>
            <a:ext cx="5596200" cy="398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lvl="0" indent="-317500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Pts val="1400"/>
              <a:buFont typeface="Nunito Sans"/>
              <a:buChar char="▪"/>
              <a:defRPr>
                <a:solidFill>
                  <a:srgbClr val="666666"/>
                </a:solidFill>
                <a:latin typeface="Nunito Sans"/>
                <a:ea typeface="Nunito Sans"/>
                <a:cs typeface="Nunito Sans"/>
                <a:sym typeface="Nunito Sans"/>
              </a:defRPr>
            </a:lvl1pPr>
            <a:lvl2pPr marL="914400" lvl="1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CCCCCC"/>
              </a:buClr>
              <a:buSzPts val="1400"/>
              <a:buFont typeface="Nunito Sans"/>
              <a:buChar char="-"/>
              <a:defRPr>
                <a:solidFill>
                  <a:srgbClr val="666666"/>
                </a:solidFill>
                <a:latin typeface="Nunito Sans"/>
                <a:ea typeface="Nunito Sans"/>
                <a:cs typeface="Nunito Sans"/>
                <a:sym typeface="Nunito Sans"/>
              </a:defRPr>
            </a:lvl2pPr>
            <a:lvl3pPr marL="1371600" lvl="2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CCCCCC"/>
              </a:buClr>
              <a:buSzPts val="1400"/>
              <a:buFont typeface="Nunito Sans"/>
              <a:buChar char="-"/>
              <a:defRPr>
                <a:solidFill>
                  <a:srgbClr val="666666"/>
                </a:solidFill>
                <a:latin typeface="Nunito Sans"/>
                <a:ea typeface="Nunito Sans"/>
                <a:cs typeface="Nunito Sans"/>
                <a:sym typeface="Nunito Sans"/>
              </a:defRPr>
            </a:lvl3pPr>
            <a:lvl4pPr marL="1828800" lvl="3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CCCCCC"/>
              </a:buClr>
              <a:buSzPts val="1400"/>
              <a:buFont typeface="Nunito Sans"/>
              <a:buChar char="-"/>
              <a:defRPr>
                <a:solidFill>
                  <a:srgbClr val="666666"/>
                </a:solidFill>
                <a:latin typeface="Nunito Sans"/>
                <a:ea typeface="Nunito Sans"/>
                <a:cs typeface="Nunito Sans"/>
                <a:sym typeface="Nunito Sans"/>
              </a:defRPr>
            </a:lvl4pPr>
            <a:lvl5pPr marL="2286000" lvl="4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CCCCCC"/>
              </a:buClr>
              <a:buSzPts val="1400"/>
              <a:buFont typeface="Nunito Sans"/>
              <a:buChar char="-"/>
              <a:defRPr>
                <a:solidFill>
                  <a:srgbClr val="666666"/>
                </a:solidFill>
                <a:latin typeface="Nunito Sans"/>
                <a:ea typeface="Nunito Sans"/>
                <a:cs typeface="Nunito Sans"/>
                <a:sym typeface="Nunito Sans"/>
              </a:defRPr>
            </a:lvl5pPr>
            <a:lvl6pPr marL="2743200" lvl="5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CCCCCC"/>
              </a:buClr>
              <a:buSzPts val="1400"/>
              <a:buFont typeface="Nunito Sans"/>
              <a:buChar char="-"/>
              <a:defRPr>
                <a:solidFill>
                  <a:srgbClr val="666666"/>
                </a:solidFill>
                <a:latin typeface="Nunito Sans"/>
                <a:ea typeface="Nunito Sans"/>
                <a:cs typeface="Nunito Sans"/>
                <a:sym typeface="Nunito Sans"/>
              </a:defRPr>
            </a:lvl6pPr>
            <a:lvl7pPr marL="3200400" lvl="6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CCCCCC"/>
              </a:buClr>
              <a:buSzPts val="1400"/>
              <a:buFont typeface="Nunito Sans"/>
              <a:buChar char="-"/>
              <a:defRPr>
                <a:solidFill>
                  <a:srgbClr val="666666"/>
                </a:solidFill>
                <a:latin typeface="Nunito Sans"/>
                <a:ea typeface="Nunito Sans"/>
                <a:cs typeface="Nunito Sans"/>
                <a:sym typeface="Nunito Sans"/>
              </a:defRPr>
            </a:lvl7pPr>
            <a:lvl8pPr marL="3657600" lvl="7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CCCCCC"/>
              </a:buClr>
              <a:buSzPts val="1400"/>
              <a:buFont typeface="Nunito Sans"/>
              <a:buChar char="-"/>
              <a:defRPr>
                <a:solidFill>
                  <a:srgbClr val="666666"/>
                </a:solidFill>
                <a:latin typeface="Nunito Sans"/>
                <a:ea typeface="Nunito Sans"/>
                <a:cs typeface="Nunito Sans"/>
                <a:sym typeface="Nunito Sans"/>
              </a:defRPr>
            </a:lvl8pPr>
            <a:lvl9pPr marL="4114800" lvl="8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CCCCCC"/>
              </a:buClr>
              <a:buSzPts val="1400"/>
              <a:buFont typeface="Nunito Sans"/>
              <a:buChar char="-"/>
              <a:defRPr>
                <a:solidFill>
                  <a:srgbClr val="666666"/>
                </a:solidFill>
                <a:latin typeface="Nunito Sans"/>
                <a:ea typeface="Nunito Sans"/>
                <a:cs typeface="Nunito Sans"/>
                <a:sym typeface="Nunito Sans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556784" y="4749851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000">
                <a:solidFill>
                  <a:srgbClr val="CCCCCC"/>
                </a:solidFill>
                <a:latin typeface="Nunito Sans"/>
                <a:ea typeface="Nunito Sans"/>
                <a:cs typeface="Nunito Sans"/>
                <a:sym typeface="Nunito Sans"/>
              </a:defRPr>
            </a:lvl1pPr>
            <a:lvl2pPr lvl="1" algn="r">
              <a:buNone/>
              <a:defRPr sz="1000">
                <a:solidFill>
                  <a:srgbClr val="CCCCCC"/>
                </a:solidFill>
                <a:latin typeface="Nunito Sans"/>
                <a:ea typeface="Nunito Sans"/>
                <a:cs typeface="Nunito Sans"/>
                <a:sym typeface="Nunito Sans"/>
              </a:defRPr>
            </a:lvl2pPr>
            <a:lvl3pPr lvl="2" algn="r">
              <a:buNone/>
              <a:defRPr sz="1000">
                <a:solidFill>
                  <a:srgbClr val="CCCCCC"/>
                </a:solidFill>
                <a:latin typeface="Nunito Sans"/>
                <a:ea typeface="Nunito Sans"/>
                <a:cs typeface="Nunito Sans"/>
                <a:sym typeface="Nunito Sans"/>
              </a:defRPr>
            </a:lvl3pPr>
            <a:lvl4pPr lvl="3" algn="r">
              <a:buNone/>
              <a:defRPr sz="1000">
                <a:solidFill>
                  <a:srgbClr val="CCCCCC"/>
                </a:solidFill>
                <a:latin typeface="Nunito Sans"/>
                <a:ea typeface="Nunito Sans"/>
                <a:cs typeface="Nunito Sans"/>
                <a:sym typeface="Nunito Sans"/>
              </a:defRPr>
            </a:lvl4pPr>
            <a:lvl5pPr lvl="4" algn="r">
              <a:buNone/>
              <a:defRPr sz="1000">
                <a:solidFill>
                  <a:srgbClr val="CCCCCC"/>
                </a:solidFill>
                <a:latin typeface="Nunito Sans"/>
                <a:ea typeface="Nunito Sans"/>
                <a:cs typeface="Nunito Sans"/>
                <a:sym typeface="Nunito Sans"/>
              </a:defRPr>
            </a:lvl5pPr>
            <a:lvl6pPr lvl="5" algn="r">
              <a:buNone/>
              <a:defRPr sz="1000">
                <a:solidFill>
                  <a:srgbClr val="CCCCCC"/>
                </a:solidFill>
                <a:latin typeface="Nunito Sans"/>
                <a:ea typeface="Nunito Sans"/>
                <a:cs typeface="Nunito Sans"/>
                <a:sym typeface="Nunito Sans"/>
              </a:defRPr>
            </a:lvl6pPr>
            <a:lvl7pPr lvl="6" algn="r">
              <a:buNone/>
              <a:defRPr sz="1000">
                <a:solidFill>
                  <a:srgbClr val="CCCCCC"/>
                </a:solidFill>
                <a:latin typeface="Nunito Sans"/>
                <a:ea typeface="Nunito Sans"/>
                <a:cs typeface="Nunito Sans"/>
                <a:sym typeface="Nunito Sans"/>
              </a:defRPr>
            </a:lvl7pPr>
            <a:lvl8pPr lvl="7" algn="r">
              <a:buNone/>
              <a:defRPr sz="1000">
                <a:solidFill>
                  <a:srgbClr val="CCCCCC"/>
                </a:solidFill>
                <a:latin typeface="Nunito Sans"/>
                <a:ea typeface="Nunito Sans"/>
                <a:cs typeface="Nunito Sans"/>
                <a:sym typeface="Nunito Sans"/>
              </a:defRPr>
            </a:lvl8pPr>
            <a:lvl9pPr lvl="8" algn="r">
              <a:buNone/>
              <a:defRPr sz="1000">
                <a:solidFill>
                  <a:srgbClr val="CCCCCC"/>
                </a:solidFill>
                <a:latin typeface="Nunito Sans"/>
                <a:ea typeface="Nunito Sans"/>
                <a:cs typeface="Nunito Sans"/>
                <a:sym typeface="Nunito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nº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0" r:id="rId2"/>
    <p:sldLayoutId id="2147483651" r:id="rId3"/>
    <p:sldLayoutId id="2147483652" r:id="rId4"/>
    <p:sldLayoutId id="2147483654" r:id="rId5"/>
    <p:sldLayoutId id="2147483660" r:id="rId6"/>
    <p:sldLayoutId id="2147483662" r:id="rId7"/>
    <p:sldLayoutId id="2147483663" r:id="rId8"/>
  </p:sldLayoutIdLst>
  <p:transition>
    <p:fade thruBlk="1"/>
  </p:transition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13" Type="http://schemas.openxmlformats.org/officeDocument/2006/relationships/image" Target="../media/image68.png"/><Relationship Id="rId18" Type="http://schemas.openxmlformats.org/officeDocument/2006/relationships/image" Target="../media/image73.png"/><Relationship Id="rId26" Type="http://schemas.openxmlformats.org/officeDocument/2006/relationships/image" Target="../media/image81.png"/><Relationship Id="rId3" Type="http://schemas.openxmlformats.org/officeDocument/2006/relationships/image" Target="../media/image58.png"/><Relationship Id="rId21" Type="http://schemas.openxmlformats.org/officeDocument/2006/relationships/image" Target="../media/image76.png"/><Relationship Id="rId7" Type="http://schemas.openxmlformats.org/officeDocument/2006/relationships/image" Target="../media/image62.png"/><Relationship Id="rId12" Type="http://schemas.openxmlformats.org/officeDocument/2006/relationships/image" Target="../media/image67.png"/><Relationship Id="rId17" Type="http://schemas.openxmlformats.org/officeDocument/2006/relationships/image" Target="../media/image72.png"/><Relationship Id="rId25" Type="http://schemas.openxmlformats.org/officeDocument/2006/relationships/image" Target="../media/image80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71.jpeg"/><Relationship Id="rId20" Type="http://schemas.openxmlformats.org/officeDocument/2006/relationships/image" Target="../media/image75.png"/><Relationship Id="rId29" Type="http://schemas.openxmlformats.org/officeDocument/2006/relationships/image" Target="../media/image84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1.png"/><Relationship Id="rId11" Type="http://schemas.openxmlformats.org/officeDocument/2006/relationships/image" Target="../media/image66.png"/><Relationship Id="rId24" Type="http://schemas.openxmlformats.org/officeDocument/2006/relationships/image" Target="../media/image79.png"/><Relationship Id="rId32" Type="http://schemas.openxmlformats.org/officeDocument/2006/relationships/image" Target="../media/image86.png"/><Relationship Id="rId5" Type="http://schemas.openxmlformats.org/officeDocument/2006/relationships/image" Target="../media/image60.jpeg"/><Relationship Id="rId15" Type="http://schemas.openxmlformats.org/officeDocument/2006/relationships/image" Target="../media/image70.png"/><Relationship Id="rId23" Type="http://schemas.openxmlformats.org/officeDocument/2006/relationships/image" Target="../media/image78.png"/><Relationship Id="rId28" Type="http://schemas.openxmlformats.org/officeDocument/2006/relationships/image" Target="../media/image83.jpeg"/><Relationship Id="rId10" Type="http://schemas.openxmlformats.org/officeDocument/2006/relationships/image" Target="../media/image65.png"/><Relationship Id="rId19" Type="http://schemas.openxmlformats.org/officeDocument/2006/relationships/image" Target="../media/image74.png"/><Relationship Id="rId31" Type="http://schemas.openxmlformats.org/officeDocument/2006/relationships/image" Target="../media/image19.png"/><Relationship Id="rId4" Type="http://schemas.openxmlformats.org/officeDocument/2006/relationships/image" Target="../media/image59.png"/><Relationship Id="rId9" Type="http://schemas.openxmlformats.org/officeDocument/2006/relationships/image" Target="../media/image64.png"/><Relationship Id="rId14" Type="http://schemas.openxmlformats.org/officeDocument/2006/relationships/image" Target="../media/image69.png"/><Relationship Id="rId22" Type="http://schemas.openxmlformats.org/officeDocument/2006/relationships/image" Target="../media/image77.png"/><Relationship Id="rId27" Type="http://schemas.openxmlformats.org/officeDocument/2006/relationships/image" Target="../media/image82.png"/><Relationship Id="rId30" Type="http://schemas.openxmlformats.org/officeDocument/2006/relationships/image" Target="../media/image85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jpeg"/><Relationship Id="rId13" Type="http://schemas.openxmlformats.org/officeDocument/2006/relationships/image" Target="../media/image96.jpeg"/><Relationship Id="rId3" Type="http://schemas.openxmlformats.org/officeDocument/2006/relationships/image" Target="../media/image10.png"/><Relationship Id="rId7" Type="http://schemas.openxmlformats.org/officeDocument/2006/relationships/image" Target="../media/image90.jpg"/><Relationship Id="rId12" Type="http://schemas.openxmlformats.org/officeDocument/2006/relationships/image" Target="../media/image95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9.jpeg"/><Relationship Id="rId11" Type="http://schemas.openxmlformats.org/officeDocument/2006/relationships/image" Target="../media/image94.jpeg"/><Relationship Id="rId5" Type="http://schemas.openxmlformats.org/officeDocument/2006/relationships/image" Target="../media/image88.jpeg"/><Relationship Id="rId10" Type="http://schemas.openxmlformats.org/officeDocument/2006/relationships/image" Target="../media/image93.jpeg"/><Relationship Id="rId4" Type="http://schemas.openxmlformats.org/officeDocument/2006/relationships/image" Target="../media/image87.jpeg"/><Relationship Id="rId9" Type="http://schemas.openxmlformats.org/officeDocument/2006/relationships/image" Target="../media/image92.jpeg"/><Relationship Id="rId14" Type="http://schemas.openxmlformats.org/officeDocument/2006/relationships/image" Target="../media/image97.jpeg"/></Relationships>
</file>

<file path=ppt/slides/_rels/slide12.xml.rels><?xml version="1.0" encoding="UTF-8" standalone="yes"?>
<Relationships xmlns="http://schemas.openxmlformats.org/package/2006/relationships"><Relationship Id="rId26" Type="http://schemas.openxmlformats.org/officeDocument/2006/relationships/diagramColors" Target="../diagrams/colors5.xml"/><Relationship Id="rId21" Type="http://schemas.openxmlformats.org/officeDocument/2006/relationships/diagramColors" Target="../diagrams/colors4.xml"/><Relationship Id="rId42" Type="http://schemas.microsoft.com/office/2007/relationships/diagramDrawing" Target="../diagrams/drawing8.xml"/><Relationship Id="rId47" Type="http://schemas.microsoft.com/office/2007/relationships/diagramDrawing" Target="../diagrams/drawing9.xml"/><Relationship Id="rId63" Type="http://schemas.openxmlformats.org/officeDocument/2006/relationships/diagramData" Target="../diagrams/data13.xml"/><Relationship Id="rId68" Type="http://schemas.openxmlformats.org/officeDocument/2006/relationships/diagramData" Target="../diagrams/data14.xml"/><Relationship Id="rId16" Type="http://schemas.openxmlformats.org/officeDocument/2006/relationships/diagramColors" Target="../diagrams/colors3.xml"/><Relationship Id="rId11" Type="http://schemas.openxmlformats.org/officeDocument/2006/relationships/diagramColors" Target="../diagrams/colors2.xml"/><Relationship Id="rId32" Type="http://schemas.microsoft.com/office/2007/relationships/diagramDrawing" Target="../diagrams/drawing6.xml"/><Relationship Id="rId37" Type="http://schemas.microsoft.com/office/2007/relationships/diagramDrawing" Target="../diagrams/drawing7.xml"/><Relationship Id="rId53" Type="http://schemas.openxmlformats.org/officeDocument/2006/relationships/diagramData" Target="../diagrams/data11.xml"/><Relationship Id="rId58" Type="http://schemas.openxmlformats.org/officeDocument/2006/relationships/diagramData" Target="../diagrams/data12.xml"/><Relationship Id="rId74" Type="http://schemas.openxmlformats.org/officeDocument/2006/relationships/diagramLayout" Target="../diagrams/layout15.xml"/><Relationship Id="rId79" Type="http://schemas.openxmlformats.org/officeDocument/2006/relationships/diagramLayout" Target="../diagrams/layout16.xml"/><Relationship Id="rId5" Type="http://schemas.openxmlformats.org/officeDocument/2006/relationships/diagramQuickStyle" Target="../diagrams/quickStyle1.xml"/><Relationship Id="rId61" Type="http://schemas.openxmlformats.org/officeDocument/2006/relationships/diagramColors" Target="../diagrams/colors12.xml"/><Relationship Id="rId82" Type="http://schemas.microsoft.com/office/2007/relationships/diagramDrawing" Target="../diagrams/drawing16.xml"/><Relationship Id="rId19" Type="http://schemas.openxmlformats.org/officeDocument/2006/relationships/diagramLayout" Target="../diagrams/layout4.xml"/><Relationship Id="rId14" Type="http://schemas.openxmlformats.org/officeDocument/2006/relationships/diagramLayout" Target="../diagrams/layout3.xml"/><Relationship Id="rId22" Type="http://schemas.microsoft.com/office/2007/relationships/diagramDrawing" Target="../diagrams/drawing4.xml"/><Relationship Id="rId27" Type="http://schemas.microsoft.com/office/2007/relationships/diagramDrawing" Target="../diagrams/drawing5.xml"/><Relationship Id="rId30" Type="http://schemas.openxmlformats.org/officeDocument/2006/relationships/diagramQuickStyle" Target="../diagrams/quickStyle6.xml"/><Relationship Id="rId35" Type="http://schemas.openxmlformats.org/officeDocument/2006/relationships/diagramQuickStyle" Target="../diagrams/quickStyle7.xml"/><Relationship Id="rId43" Type="http://schemas.openxmlformats.org/officeDocument/2006/relationships/diagramData" Target="../diagrams/data9.xml"/><Relationship Id="rId48" Type="http://schemas.openxmlformats.org/officeDocument/2006/relationships/diagramData" Target="../diagrams/data10.xml"/><Relationship Id="rId56" Type="http://schemas.openxmlformats.org/officeDocument/2006/relationships/diagramColors" Target="../diagrams/colors11.xml"/><Relationship Id="rId64" Type="http://schemas.openxmlformats.org/officeDocument/2006/relationships/diagramLayout" Target="../diagrams/layout13.xml"/><Relationship Id="rId69" Type="http://schemas.openxmlformats.org/officeDocument/2006/relationships/diagramLayout" Target="../diagrams/layout14.xml"/><Relationship Id="rId77" Type="http://schemas.microsoft.com/office/2007/relationships/diagramDrawing" Target="../diagrams/drawing15.xml"/><Relationship Id="rId8" Type="http://schemas.openxmlformats.org/officeDocument/2006/relationships/diagramData" Target="../diagrams/data2.xml"/><Relationship Id="rId51" Type="http://schemas.openxmlformats.org/officeDocument/2006/relationships/diagramColors" Target="../diagrams/colors10.xml"/><Relationship Id="rId72" Type="http://schemas.microsoft.com/office/2007/relationships/diagramDrawing" Target="../diagrams/drawing14.xml"/><Relationship Id="rId80" Type="http://schemas.openxmlformats.org/officeDocument/2006/relationships/diagramQuickStyle" Target="../diagrams/quickStyle16.xml"/><Relationship Id="rId3" Type="http://schemas.openxmlformats.org/officeDocument/2006/relationships/diagramData" Target="../diagrams/data1.xml"/><Relationship Id="rId12" Type="http://schemas.microsoft.com/office/2007/relationships/diagramDrawing" Target="../diagrams/drawing2.xml"/><Relationship Id="rId17" Type="http://schemas.microsoft.com/office/2007/relationships/diagramDrawing" Target="../diagrams/drawing3.xml"/><Relationship Id="rId25" Type="http://schemas.openxmlformats.org/officeDocument/2006/relationships/diagramQuickStyle" Target="../diagrams/quickStyle5.xml"/><Relationship Id="rId33" Type="http://schemas.openxmlformats.org/officeDocument/2006/relationships/diagramData" Target="../diagrams/data7.xml"/><Relationship Id="rId38" Type="http://schemas.openxmlformats.org/officeDocument/2006/relationships/diagramData" Target="../diagrams/data8.xml"/><Relationship Id="rId46" Type="http://schemas.openxmlformats.org/officeDocument/2006/relationships/diagramColors" Target="../diagrams/colors9.xml"/><Relationship Id="rId59" Type="http://schemas.openxmlformats.org/officeDocument/2006/relationships/diagramLayout" Target="../diagrams/layout12.xml"/><Relationship Id="rId67" Type="http://schemas.microsoft.com/office/2007/relationships/diagramDrawing" Target="../diagrams/drawing13.xml"/><Relationship Id="rId20" Type="http://schemas.openxmlformats.org/officeDocument/2006/relationships/diagramQuickStyle" Target="../diagrams/quickStyle4.xml"/><Relationship Id="rId41" Type="http://schemas.openxmlformats.org/officeDocument/2006/relationships/diagramColors" Target="../diagrams/colors8.xml"/><Relationship Id="rId54" Type="http://schemas.openxmlformats.org/officeDocument/2006/relationships/diagramLayout" Target="../diagrams/layout11.xml"/><Relationship Id="rId62" Type="http://schemas.microsoft.com/office/2007/relationships/diagramDrawing" Target="../diagrams/drawing12.xml"/><Relationship Id="rId70" Type="http://schemas.openxmlformats.org/officeDocument/2006/relationships/diagramQuickStyle" Target="../diagrams/quickStyle14.xml"/><Relationship Id="rId75" Type="http://schemas.openxmlformats.org/officeDocument/2006/relationships/diagramQuickStyle" Target="../diagrams/quickStyle15.xml"/><Relationship Id="rId83" Type="http://schemas.openxmlformats.org/officeDocument/2006/relationships/image" Target="../media/image10.png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1.xml"/><Relationship Id="rId15" Type="http://schemas.openxmlformats.org/officeDocument/2006/relationships/diagramQuickStyle" Target="../diagrams/quickStyle3.xml"/><Relationship Id="rId23" Type="http://schemas.openxmlformats.org/officeDocument/2006/relationships/diagramData" Target="../diagrams/data5.xml"/><Relationship Id="rId28" Type="http://schemas.openxmlformats.org/officeDocument/2006/relationships/diagramData" Target="../diagrams/data6.xml"/><Relationship Id="rId36" Type="http://schemas.openxmlformats.org/officeDocument/2006/relationships/diagramColors" Target="../diagrams/colors7.xml"/><Relationship Id="rId49" Type="http://schemas.openxmlformats.org/officeDocument/2006/relationships/diagramLayout" Target="../diagrams/layout10.xml"/><Relationship Id="rId57" Type="http://schemas.microsoft.com/office/2007/relationships/diagramDrawing" Target="../diagrams/drawing11.xml"/><Relationship Id="rId10" Type="http://schemas.openxmlformats.org/officeDocument/2006/relationships/diagramQuickStyle" Target="../diagrams/quickStyle2.xml"/><Relationship Id="rId31" Type="http://schemas.openxmlformats.org/officeDocument/2006/relationships/diagramColors" Target="../diagrams/colors6.xml"/><Relationship Id="rId44" Type="http://schemas.openxmlformats.org/officeDocument/2006/relationships/diagramLayout" Target="../diagrams/layout9.xml"/><Relationship Id="rId52" Type="http://schemas.microsoft.com/office/2007/relationships/diagramDrawing" Target="../diagrams/drawing10.xml"/><Relationship Id="rId60" Type="http://schemas.openxmlformats.org/officeDocument/2006/relationships/diagramQuickStyle" Target="../diagrams/quickStyle12.xml"/><Relationship Id="rId65" Type="http://schemas.openxmlformats.org/officeDocument/2006/relationships/diagramQuickStyle" Target="../diagrams/quickStyle13.xml"/><Relationship Id="rId73" Type="http://schemas.openxmlformats.org/officeDocument/2006/relationships/diagramData" Target="../diagrams/data15.xml"/><Relationship Id="rId78" Type="http://schemas.openxmlformats.org/officeDocument/2006/relationships/diagramData" Target="../diagrams/data16.xml"/><Relationship Id="rId81" Type="http://schemas.openxmlformats.org/officeDocument/2006/relationships/diagramColors" Target="../diagrams/colors16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Relationship Id="rId13" Type="http://schemas.openxmlformats.org/officeDocument/2006/relationships/diagramData" Target="../diagrams/data3.xml"/><Relationship Id="rId18" Type="http://schemas.openxmlformats.org/officeDocument/2006/relationships/diagramData" Target="../diagrams/data4.xml"/><Relationship Id="rId39" Type="http://schemas.openxmlformats.org/officeDocument/2006/relationships/diagramLayout" Target="../diagrams/layout8.xml"/><Relationship Id="rId34" Type="http://schemas.openxmlformats.org/officeDocument/2006/relationships/diagramLayout" Target="../diagrams/layout7.xml"/><Relationship Id="rId50" Type="http://schemas.openxmlformats.org/officeDocument/2006/relationships/diagramQuickStyle" Target="../diagrams/quickStyle10.xml"/><Relationship Id="rId55" Type="http://schemas.openxmlformats.org/officeDocument/2006/relationships/diagramQuickStyle" Target="../diagrams/quickStyle11.xml"/><Relationship Id="rId76" Type="http://schemas.openxmlformats.org/officeDocument/2006/relationships/diagramColors" Target="../diagrams/colors15.xml"/><Relationship Id="rId7" Type="http://schemas.microsoft.com/office/2007/relationships/diagramDrawing" Target="../diagrams/drawing1.xml"/><Relationship Id="rId71" Type="http://schemas.openxmlformats.org/officeDocument/2006/relationships/diagramColors" Target="../diagrams/colors14.xml"/><Relationship Id="rId2" Type="http://schemas.openxmlformats.org/officeDocument/2006/relationships/notesSlide" Target="../notesSlides/notesSlide8.xml"/><Relationship Id="rId29" Type="http://schemas.openxmlformats.org/officeDocument/2006/relationships/diagramLayout" Target="../diagrams/layout6.xml"/><Relationship Id="rId24" Type="http://schemas.openxmlformats.org/officeDocument/2006/relationships/diagramLayout" Target="../diagrams/layout5.xml"/><Relationship Id="rId40" Type="http://schemas.openxmlformats.org/officeDocument/2006/relationships/diagramQuickStyle" Target="../diagrams/quickStyle8.xml"/><Relationship Id="rId45" Type="http://schemas.openxmlformats.org/officeDocument/2006/relationships/diagramQuickStyle" Target="../diagrams/quickStyle9.xml"/><Relationship Id="rId66" Type="http://schemas.openxmlformats.org/officeDocument/2006/relationships/diagramColors" Target="../diagrams/colors1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0.png"/><Relationship Id="rId3" Type="http://schemas.openxmlformats.org/officeDocument/2006/relationships/image" Target="../media/image115.png"/><Relationship Id="rId7" Type="http://schemas.openxmlformats.org/officeDocument/2006/relationships/image" Target="../media/image119.png"/><Relationship Id="rId2" Type="http://schemas.openxmlformats.org/officeDocument/2006/relationships/image" Target="../media/image11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8.png"/><Relationship Id="rId5" Type="http://schemas.openxmlformats.org/officeDocument/2006/relationships/image" Target="../media/image117.png"/><Relationship Id="rId4" Type="http://schemas.openxmlformats.org/officeDocument/2006/relationships/image" Target="../media/image116.png"/><Relationship Id="rId9" Type="http://schemas.openxmlformats.org/officeDocument/2006/relationships/image" Target="../media/image121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2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3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4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5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13" Type="http://schemas.openxmlformats.org/officeDocument/2006/relationships/image" Target="../media/image28.jpeg"/><Relationship Id="rId18" Type="http://schemas.openxmlformats.org/officeDocument/2006/relationships/image" Target="../media/image33.jpeg"/><Relationship Id="rId3" Type="http://schemas.openxmlformats.org/officeDocument/2006/relationships/slideLayout" Target="../slideLayouts/slideLayout8.xml"/><Relationship Id="rId21" Type="http://schemas.openxmlformats.org/officeDocument/2006/relationships/image" Target="../media/image19.png"/><Relationship Id="rId7" Type="http://schemas.openxmlformats.org/officeDocument/2006/relationships/image" Target="../media/image22.jpeg"/><Relationship Id="rId12" Type="http://schemas.openxmlformats.org/officeDocument/2006/relationships/image" Target="../media/image27.gif"/><Relationship Id="rId17" Type="http://schemas.openxmlformats.org/officeDocument/2006/relationships/image" Target="../media/image32.png"/><Relationship Id="rId2" Type="http://schemas.openxmlformats.org/officeDocument/2006/relationships/tags" Target="../tags/tag2.xml"/><Relationship Id="rId16" Type="http://schemas.openxmlformats.org/officeDocument/2006/relationships/image" Target="../media/image31.jpeg"/><Relationship Id="rId20" Type="http://schemas.openxmlformats.org/officeDocument/2006/relationships/image" Target="../media/image35.png"/><Relationship Id="rId1" Type="http://schemas.openxmlformats.org/officeDocument/2006/relationships/tags" Target="../tags/tag1.xml"/><Relationship Id="rId6" Type="http://schemas.openxmlformats.org/officeDocument/2006/relationships/image" Target="../media/image21.gif"/><Relationship Id="rId11" Type="http://schemas.openxmlformats.org/officeDocument/2006/relationships/image" Target="../media/image26.jpeg"/><Relationship Id="rId5" Type="http://schemas.openxmlformats.org/officeDocument/2006/relationships/image" Target="../media/image20.png"/><Relationship Id="rId15" Type="http://schemas.openxmlformats.org/officeDocument/2006/relationships/image" Target="../media/image30.png"/><Relationship Id="rId10" Type="http://schemas.openxmlformats.org/officeDocument/2006/relationships/image" Target="../media/image25.jpeg"/><Relationship Id="rId19" Type="http://schemas.openxmlformats.org/officeDocument/2006/relationships/image" Target="../media/image34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24.jpeg"/><Relationship Id="rId14" Type="http://schemas.openxmlformats.org/officeDocument/2006/relationships/image" Target="../media/image29.jpeg"/><Relationship Id="rId22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7.png"/><Relationship Id="rId4" Type="http://schemas.microsoft.com/office/2007/relationships/hdphoto" Target="../media/hdphoto2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g"/><Relationship Id="rId7" Type="http://schemas.openxmlformats.org/officeDocument/2006/relationships/image" Target="../media/image46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5.jpg"/><Relationship Id="rId5" Type="http://schemas.openxmlformats.org/officeDocument/2006/relationships/image" Target="../media/image44.jpg"/><Relationship Id="rId4" Type="http://schemas.openxmlformats.org/officeDocument/2006/relationships/image" Target="../media/image4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47.png"/><Relationship Id="rId7" Type="http://schemas.openxmlformats.org/officeDocument/2006/relationships/image" Target="../media/image5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10" Type="http://schemas.openxmlformats.org/officeDocument/2006/relationships/image" Target="../media/image10.png"/><Relationship Id="rId4" Type="http://schemas.microsoft.com/office/2007/relationships/hdphoto" Target="../media/hdphoto3.wdp"/><Relationship Id="rId9" Type="http://schemas.openxmlformats.org/officeDocument/2006/relationships/image" Target="../media/image5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7" Type="http://schemas.openxmlformats.org/officeDocument/2006/relationships/image" Target="../media/image57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55A8F70-1FDC-4E5D-B740-C05878947B9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76999" y="1972432"/>
            <a:ext cx="6735936" cy="1121846"/>
          </a:xfrm>
        </p:spPr>
        <p:txBody>
          <a:bodyPr/>
          <a:lstStyle/>
          <a:p>
            <a:r>
              <a:rPr lang="en-US" dirty="0"/>
              <a:t>SHAPING A WORLD </a:t>
            </a:r>
            <a:br>
              <a:rPr lang="en-US" dirty="0"/>
            </a:br>
            <a:r>
              <a:rPr lang="en-US" dirty="0"/>
              <a:t>OF TRUST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81F1097B-D72E-4454-8E4B-527E370B4457}"/>
              </a:ext>
            </a:extLst>
          </p:cNvPr>
          <p:cNvPicPr>
            <a:picLocks noChangeAspect="1"/>
          </p:cNvPicPr>
          <p:nvPr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141272" y="4559498"/>
            <a:ext cx="379639" cy="467916"/>
          </a:xfrm>
          <a:prstGeom prst="rect">
            <a:avLst/>
          </a:prstGeom>
        </p:spPr>
      </p:pic>
      <p:sp>
        <p:nvSpPr>
          <p:cNvPr id="9" name="Titre 1">
            <a:extLst>
              <a:ext uri="{FF2B5EF4-FFF2-40B4-BE49-F238E27FC236}">
                <a16:creationId xmlns:a16="http://schemas.microsoft.com/office/drawing/2014/main" id="{E99EA895-0985-45DD-9B7A-192879F3688F}"/>
              </a:ext>
            </a:extLst>
          </p:cNvPr>
          <p:cNvSpPr txBox="1">
            <a:spLocks/>
          </p:cNvSpPr>
          <p:nvPr/>
        </p:nvSpPr>
        <p:spPr>
          <a:xfrm>
            <a:off x="2276999" y="3122944"/>
            <a:ext cx="6735936" cy="300082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b="1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975" spc="225" dirty="0">
                <a:solidFill>
                  <a:prstClr val="white"/>
                </a:solidFill>
              </a:rPr>
              <a:t>A Global leader in testing, </a:t>
            </a:r>
            <a:br>
              <a:rPr lang="en-US" sz="975" spc="225" dirty="0">
                <a:solidFill>
                  <a:prstClr val="white"/>
                </a:solidFill>
              </a:rPr>
            </a:br>
            <a:r>
              <a:rPr lang="en-US" sz="975" spc="225" dirty="0">
                <a:solidFill>
                  <a:prstClr val="white"/>
                </a:solidFill>
              </a:rPr>
              <a:t>inspection &amp; certification SERVICES</a:t>
            </a:r>
          </a:p>
        </p:txBody>
      </p:sp>
      <p:sp>
        <p:nvSpPr>
          <p:cNvPr id="5" name="ZoneTexte 3"/>
          <p:cNvSpPr txBox="1"/>
          <p:nvPr/>
        </p:nvSpPr>
        <p:spPr>
          <a:xfrm>
            <a:off x="124254" y="3276887"/>
            <a:ext cx="1485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>
                <a:solidFill>
                  <a:srgbClr val="333333"/>
                </a:solidFill>
              </a:rPr>
              <a:t>Speaker : Callie Kruger</a:t>
            </a:r>
          </a:p>
          <a:p>
            <a:r>
              <a:rPr lang="fr-FR" sz="900" dirty="0" err="1">
                <a:solidFill>
                  <a:srgbClr val="333333"/>
                </a:solidFill>
              </a:rPr>
              <a:t>Title</a:t>
            </a:r>
            <a:r>
              <a:rPr lang="fr-FR" sz="900" dirty="0">
                <a:solidFill>
                  <a:srgbClr val="333333"/>
                </a:solidFill>
              </a:rPr>
              <a:t>: </a:t>
            </a:r>
            <a:r>
              <a:rPr lang="fr-FR" sz="900" i="1" dirty="0">
                <a:solidFill>
                  <a:srgbClr val="333333"/>
                </a:solidFill>
              </a:rPr>
              <a:t>Agri Manager SAC</a:t>
            </a:r>
          </a:p>
          <a:p>
            <a:endParaRPr lang="fr-FR" sz="900" i="1" dirty="0">
              <a:solidFill>
                <a:srgbClr val="333333"/>
              </a:solidFill>
            </a:endParaRPr>
          </a:p>
          <a:p>
            <a:r>
              <a:rPr lang="en-ZA" sz="900" i="1" dirty="0" err="1">
                <a:solidFill>
                  <a:srgbClr val="333333"/>
                </a:solidFill>
              </a:rPr>
              <a:t>Agbiz</a:t>
            </a:r>
            <a:r>
              <a:rPr lang="en-ZA" sz="900" i="1" dirty="0">
                <a:solidFill>
                  <a:srgbClr val="333333"/>
                </a:solidFill>
              </a:rPr>
              <a:t> Grain Symposium 14 August 2019 </a:t>
            </a:r>
            <a:endParaRPr lang="fr-FR" sz="900" i="1" dirty="0">
              <a:solidFill>
                <a:srgbClr val="333333"/>
              </a:solidFill>
            </a:endParaRPr>
          </a:p>
          <a:p>
            <a:endParaRPr lang="fr-FR" sz="900" i="1" dirty="0">
              <a:solidFill>
                <a:srgbClr val="333333"/>
              </a:solidFill>
            </a:endParaRPr>
          </a:p>
        </p:txBody>
      </p:sp>
      <p:pic>
        <p:nvPicPr>
          <p:cNvPr id="6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000" y="281417"/>
            <a:ext cx="945001" cy="94500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FE4FC4FC-51A6-46D0-94BB-03F63F316D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50721" y="-38395"/>
            <a:ext cx="7193280" cy="5202086"/>
          </a:xfrm>
          <a:prstGeom prst="rect">
            <a:avLst/>
          </a:prstGeom>
        </p:spPr>
      </p:pic>
      <p:sp>
        <p:nvSpPr>
          <p:cNvPr id="10" name="Titre 1">
            <a:extLst>
              <a:ext uri="{FF2B5EF4-FFF2-40B4-BE49-F238E27FC236}">
                <a16:creationId xmlns:a16="http://schemas.microsoft.com/office/drawing/2014/main" id="{D2E0E014-9064-451A-853D-90D16CC648C5}"/>
              </a:ext>
            </a:extLst>
          </p:cNvPr>
          <p:cNvSpPr txBox="1">
            <a:spLocks/>
          </p:cNvSpPr>
          <p:nvPr/>
        </p:nvSpPr>
        <p:spPr>
          <a:xfrm>
            <a:off x="2276999" y="1560262"/>
            <a:ext cx="8981248" cy="14957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Nunito Sans"/>
              <a:buNone/>
              <a:defRPr sz="4050" b="0" i="0" u="none" strike="noStrike" cap="none">
                <a:solidFill>
                  <a:schemeClr val="bg1"/>
                </a:solidFill>
                <a:latin typeface="Nunito Sans"/>
                <a:ea typeface="Nunito Sans"/>
                <a:cs typeface="Nunito Sans"/>
                <a:sym typeface="Nunito Sa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Nunito Sans"/>
              <a:buNone/>
              <a:defRPr sz="2400" b="0" i="0" u="none" strike="noStrike" cap="none">
                <a:solidFill>
                  <a:srgbClr val="FFFFFF"/>
                </a:solidFill>
                <a:latin typeface="Nunito Sans"/>
                <a:ea typeface="Nunito Sans"/>
                <a:cs typeface="Nunito Sans"/>
                <a:sym typeface="Nunito Sa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Nunito Sans"/>
              <a:buNone/>
              <a:defRPr sz="2400" b="0" i="0" u="none" strike="noStrike" cap="none">
                <a:solidFill>
                  <a:srgbClr val="FFFFFF"/>
                </a:solidFill>
                <a:latin typeface="Nunito Sans"/>
                <a:ea typeface="Nunito Sans"/>
                <a:cs typeface="Nunito Sans"/>
                <a:sym typeface="Nunito Sa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Nunito Sans"/>
              <a:buNone/>
              <a:defRPr sz="2400" b="0" i="0" u="none" strike="noStrike" cap="none">
                <a:solidFill>
                  <a:srgbClr val="FFFFFF"/>
                </a:solidFill>
                <a:latin typeface="Nunito Sans"/>
                <a:ea typeface="Nunito Sans"/>
                <a:cs typeface="Nunito Sans"/>
                <a:sym typeface="Nunito Sa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Nunito Sans"/>
              <a:buNone/>
              <a:defRPr sz="2400" b="0" i="0" u="none" strike="noStrike" cap="none">
                <a:solidFill>
                  <a:srgbClr val="FFFFFF"/>
                </a:solidFill>
                <a:latin typeface="Nunito Sans"/>
                <a:ea typeface="Nunito Sans"/>
                <a:cs typeface="Nunito Sans"/>
                <a:sym typeface="Nunito Sa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Nunito Sans"/>
              <a:buNone/>
              <a:defRPr sz="2400" b="0" i="0" u="none" strike="noStrike" cap="none">
                <a:solidFill>
                  <a:srgbClr val="FFFFFF"/>
                </a:solidFill>
                <a:latin typeface="Nunito Sans"/>
                <a:ea typeface="Nunito Sans"/>
                <a:cs typeface="Nunito Sans"/>
                <a:sym typeface="Nunito Sa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Nunito Sans"/>
              <a:buNone/>
              <a:defRPr sz="2400" b="0" i="0" u="none" strike="noStrike" cap="none">
                <a:solidFill>
                  <a:srgbClr val="FFFFFF"/>
                </a:solidFill>
                <a:latin typeface="Nunito Sans"/>
                <a:ea typeface="Nunito Sans"/>
                <a:cs typeface="Nunito Sans"/>
                <a:sym typeface="Nunito Sa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Nunito Sans"/>
              <a:buNone/>
              <a:defRPr sz="2400" b="0" i="0" u="none" strike="noStrike" cap="none">
                <a:solidFill>
                  <a:srgbClr val="FFFFFF"/>
                </a:solidFill>
                <a:latin typeface="Nunito Sans"/>
                <a:ea typeface="Nunito Sans"/>
                <a:cs typeface="Nunito Sans"/>
                <a:sym typeface="Nunito Sa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Nunito Sans"/>
              <a:buNone/>
              <a:defRPr sz="2400" b="0" i="0" u="none" strike="noStrike" cap="none">
                <a:solidFill>
                  <a:srgbClr val="FFFFFF"/>
                </a:solidFill>
                <a:latin typeface="Nunito Sans"/>
                <a:ea typeface="Nunito Sans"/>
                <a:cs typeface="Nunito Sans"/>
                <a:sym typeface="Nunito Sans"/>
              </a:defRPr>
            </a:lvl9pPr>
          </a:lstStyle>
          <a:p>
            <a:r>
              <a:rPr lang="en-US" dirty="0"/>
              <a:t>SHAPING A WORLD </a:t>
            </a:r>
            <a:br>
              <a:rPr lang="en-US" dirty="0"/>
            </a:br>
            <a:r>
              <a:rPr lang="en-US" dirty="0"/>
              <a:t>OF TRUST</a:t>
            </a:r>
          </a:p>
        </p:txBody>
      </p:sp>
      <p:sp>
        <p:nvSpPr>
          <p:cNvPr id="11" name="Titre 1">
            <a:extLst>
              <a:ext uri="{FF2B5EF4-FFF2-40B4-BE49-F238E27FC236}">
                <a16:creationId xmlns:a16="http://schemas.microsoft.com/office/drawing/2014/main" id="{89DF7F2C-9522-45A5-8DCE-AF5C3574D102}"/>
              </a:ext>
            </a:extLst>
          </p:cNvPr>
          <p:cNvSpPr txBox="1">
            <a:spLocks/>
          </p:cNvSpPr>
          <p:nvPr/>
        </p:nvSpPr>
        <p:spPr>
          <a:xfrm>
            <a:off x="2276999" y="3094278"/>
            <a:ext cx="8981248" cy="400110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b="1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1300" spc="300" dirty="0">
                <a:solidFill>
                  <a:prstClr val="white"/>
                </a:solidFill>
              </a:rPr>
              <a:t>A Global leader in testing, </a:t>
            </a:r>
            <a:br>
              <a:rPr lang="en-US" sz="1300" spc="300" dirty="0">
                <a:solidFill>
                  <a:prstClr val="white"/>
                </a:solidFill>
              </a:rPr>
            </a:br>
            <a:r>
              <a:rPr lang="en-US" sz="1300" spc="300" dirty="0">
                <a:solidFill>
                  <a:prstClr val="white"/>
                </a:solidFill>
              </a:rPr>
              <a:t>inspection &amp; certification SERVICES</a:t>
            </a:r>
          </a:p>
        </p:txBody>
      </p:sp>
      <p:pic>
        <p:nvPicPr>
          <p:cNvPr id="12" name="Picture 19" descr="C:\Users\Michelle\Pictures\Saved Pictures\Saved Pictures\Logo EN escrito verde.png">
            <a:extLst>
              <a:ext uri="{FF2B5EF4-FFF2-40B4-BE49-F238E27FC236}">
                <a16:creationId xmlns:a16="http://schemas.microsoft.com/office/drawing/2014/main" id="{658FEBB4-764B-486C-9135-8895DE1C11B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5316"/>
          <a:stretch/>
        </p:blipFill>
        <p:spPr bwMode="auto">
          <a:xfrm>
            <a:off x="368648" y="4301067"/>
            <a:ext cx="1209385" cy="630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30942945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bject 16"/>
          <p:cNvSpPr txBox="1"/>
          <p:nvPr/>
        </p:nvSpPr>
        <p:spPr>
          <a:xfrm>
            <a:off x="111956" y="1468275"/>
            <a:ext cx="2327926" cy="220695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ctr">
              <a:lnSpc>
                <a:spcPts val="6000"/>
              </a:lnSpc>
            </a:pPr>
            <a:r>
              <a:rPr lang="pt-BR" sz="3200" dirty="0" err="1">
                <a:solidFill>
                  <a:schemeClr val="bg2">
                    <a:lumMod val="75000"/>
                  </a:schemeClr>
                </a:solidFill>
                <a:latin typeface="Century Gothic" panose="020B0502020202020204" pitchFamily="34" charset="0"/>
                <a:cs typeface="Palatino Linotype"/>
              </a:rPr>
              <a:t>Clients</a:t>
            </a:r>
            <a:r>
              <a:rPr lang="pt-BR" sz="3200" dirty="0">
                <a:solidFill>
                  <a:schemeClr val="bg2">
                    <a:lumMod val="75000"/>
                  </a:schemeClr>
                </a:solidFill>
                <a:latin typeface="Century Gothic" panose="020B0502020202020204" pitchFamily="34" charset="0"/>
                <a:cs typeface="Palatino Linotype"/>
              </a:rPr>
              <a:t> </a:t>
            </a:r>
          </a:p>
          <a:p>
            <a:pPr marL="12700" marR="5080" algn="ctr">
              <a:lnSpc>
                <a:spcPts val="6000"/>
              </a:lnSpc>
            </a:pPr>
            <a:r>
              <a:rPr lang="pt-BR" sz="3200" dirty="0">
                <a:solidFill>
                  <a:schemeClr val="bg2">
                    <a:lumMod val="75000"/>
                  </a:schemeClr>
                </a:solidFill>
                <a:latin typeface="Century Gothic" panose="020B0502020202020204" pitchFamily="34" charset="0"/>
                <a:cs typeface="Palatino Linotype"/>
              </a:rPr>
              <a:t>and </a:t>
            </a:r>
            <a:r>
              <a:rPr lang="pt-BR" sz="3200" dirty="0" err="1">
                <a:solidFill>
                  <a:schemeClr val="bg2">
                    <a:lumMod val="75000"/>
                  </a:schemeClr>
                </a:solidFill>
                <a:latin typeface="Century Gothic" panose="020B0502020202020204" pitchFamily="34" charset="0"/>
                <a:cs typeface="Palatino Linotype"/>
              </a:rPr>
              <a:t>Partners</a:t>
            </a:r>
            <a:endParaRPr lang="pt-BR" sz="3200" dirty="0">
              <a:solidFill>
                <a:schemeClr val="bg2">
                  <a:lumMod val="75000"/>
                </a:schemeClr>
              </a:solidFill>
              <a:latin typeface="Century Gothic" panose="020B0502020202020204" pitchFamily="34" charset="0"/>
              <a:cs typeface="Palatino Linotype"/>
            </a:endParaRPr>
          </a:p>
        </p:txBody>
      </p:sp>
      <p:cxnSp>
        <p:nvCxnSpPr>
          <p:cNvPr id="211" name="Conector reto 210">
            <a:extLst>
              <a:ext uri="{FF2B5EF4-FFF2-40B4-BE49-F238E27FC236}">
                <a16:creationId xmlns:a16="http://schemas.microsoft.com/office/drawing/2014/main" id="{6DEE8563-0CB8-4DBA-80DB-B9A336D147C0}"/>
              </a:ext>
            </a:extLst>
          </p:cNvPr>
          <p:cNvCxnSpPr/>
          <p:nvPr/>
        </p:nvCxnSpPr>
        <p:spPr>
          <a:xfrm>
            <a:off x="2675131" y="2616174"/>
            <a:ext cx="6385674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2" name="Conector reto 211">
            <a:extLst>
              <a:ext uri="{FF2B5EF4-FFF2-40B4-BE49-F238E27FC236}">
                <a16:creationId xmlns:a16="http://schemas.microsoft.com/office/drawing/2014/main" id="{32EF9D37-D7BA-44F3-AF78-BF10EF3D210D}"/>
              </a:ext>
            </a:extLst>
          </p:cNvPr>
          <p:cNvCxnSpPr/>
          <p:nvPr/>
        </p:nvCxnSpPr>
        <p:spPr>
          <a:xfrm>
            <a:off x="2675131" y="1694677"/>
            <a:ext cx="6385674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3" name="Conector reto 212">
            <a:extLst>
              <a:ext uri="{FF2B5EF4-FFF2-40B4-BE49-F238E27FC236}">
                <a16:creationId xmlns:a16="http://schemas.microsoft.com/office/drawing/2014/main" id="{3FBFC35B-E000-43D1-B46F-B5BC77094DE6}"/>
              </a:ext>
            </a:extLst>
          </p:cNvPr>
          <p:cNvCxnSpPr/>
          <p:nvPr/>
        </p:nvCxnSpPr>
        <p:spPr>
          <a:xfrm>
            <a:off x="2675131" y="812797"/>
            <a:ext cx="6385674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4" name="Conector reto 213">
            <a:extLst>
              <a:ext uri="{FF2B5EF4-FFF2-40B4-BE49-F238E27FC236}">
                <a16:creationId xmlns:a16="http://schemas.microsoft.com/office/drawing/2014/main" id="{1CB5431C-90E7-40A3-9DDB-7850F30C5246}"/>
              </a:ext>
            </a:extLst>
          </p:cNvPr>
          <p:cNvCxnSpPr/>
          <p:nvPr/>
        </p:nvCxnSpPr>
        <p:spPr>
          <a:xfrm>
            <a:off x="6275409" y="56937"/>
            <a:ext cx="0" cy="502152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5" name="Conector reto 214">
            <a:extLst>
              <a:ext uri="{FF2B5EF4-FFF2-40B4-BE49-F238E27FC236}">
                <a16:creationId xmlns:a16="http://schemas.microsoft.com/office/drawing/2014/main" id="{3D1DC5D0-3312-4076-B476-30EBA6285C85}"/>
              </a:ext>
            </a:extLst>
          </p:cNvPr>
          <p:cNvCxnSpPr/>
          <p:nvPr/>
        </p:nvCxnSpPr>
        <p:spPr>
          <a:xfrm>
            <a:off x="5094691" y="74717"/>
            <a:ext cx="0" cy="500374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17" name="Picture 50">
            <a:extLst>
              <a:ext uri="{FF2B5EF4-FFF2-40B4-BE49-F238E27FC236}">
                <a16:creationId xmlns:a16="http://schemas.microsoft.com/office/drawing/2014/main" id="{5FBADE7D-28A2-4857-BFDD-E4A361D33956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255155" y="2889410"/>
            <a:ext cx="884113" cy="358066"/>
          </a:xfrm>
          <a:prstGeom prst="rect">
            <a:avLst/>
          </a:prstGeom>
        </p:spPr>
      </p:pic>
      <p:pic>
        <p:nvPicPr>
          <p:cNvPr id="216" name="Picture 51">
            <a:extLst>
              <a:ext uri="{FF2B5EF4-FFF2-40B4-BE49-F238E27FC236}">
                <a16:creationId xmlns:a16="http://schemas.microsoft.com/office/drawing/2014/main" id="{862336C9-7B93-48F1-BE1D-895CAD7DA392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677509" y="2878353"/>
            <a:ext cx="491659" cy="450688"/>
          </a:xfrm>
          <a:prstGeom prst="rect">
            <a:avLst/>
          </a:prstGeom>
        </p:spPr>
      </p:pic>
      <p:pic>
        <p:nvPicPr>
          <p:cNvPr id="218" name="Picture 2" descr="http://www.uenf.br/portal/cache/d/8d2e0e252e923e7faa25094a9d76266a.jpg">
            <a:extLst>
              <a:ext uri="{FF2B5EF4-FFF2-40B4-BE49-F238E27FC236}">
                <a16:creationId xmlns:a16="http://schemas.microsoft.com/office/drawing/2014/main" id="{E93DC4FA-3E2F-43B3-8115-80D0AE4BE0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906" y="2765103"/>
            <a:ext cx="738250" cy="606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9" name="Picture 1">
            <a:extLst>
              <a:ext uri="{FF2B5EF4-FFF2-40B4-BE49-F238E27FC236}">
                <a16:creationId xmlns:a16="http://schemas.microsoft.com/office/drawing/2014/main" id="{480D8F0D-E2EF-40E4-AB8A-AD0D48111DC1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2868072" y="2818907"/>
            <a:ext cx="763609" cy="499072"/>
          </a:xfrm>
          <a:prstGeom prst="rect">
            <a:avLst/>
          </a:prstGeom>
        </p:spPr>
      </p:pic>
      <p:pic>
        <p:nvPicPr>
          <p:cNvPr id="221" name="Picture 49">
            <a:extLst>
              <a:ext uri="{FF2B5EF4-FFF2-40B4-BE49-F238E27FC236}">
                <a16:creationId xmlns:a16="http://schemas.microsoft.com/office/drawing/2014/main" id="{E90FD245-7C26-4BF8-BF52-952A546C9D18}"/>
              </a:ext>
            </a:extLst>
          </p:cNvPr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210396" y="2000584"/>
            <a:ext cx="973631" cy="326166"/>
          </a:xfrm>
          <a:prstGeom prst="rect">
            <a:avLst/>
          </a:prstGeom>
        </p:spPr>
      </p:pic>
      <p:pic>
        <p:nvPicPr>
          <p:cNvPr id="220" name="Picture 39">
            <a:extLst>
              <a:ext uri="{FF2B5EF4-FFF2-40B4-BE49-F238E27FC236}">
                <a16:creationId xmlns:a16="http://schemas.microsoft.com/office/drawing/2014/main" id="{098AB0FC-5991-47A5-8F23-9A3475F35728}"/>
              </a:ext>
            </a:extLst>
          </p:cNvPr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03300" y="2031759"/>
            <a:ext cx="1040076" cy="332824"/>
          </a:xfrm>
          <a:prstGeom prst="rect">
            <a:avLst/>
          </a:prstGeom>
        </p:spPr>
      </p:pic>
      <p:pic>
        <p:nvPicPr>
          <p:cNvPr id="222" name="Picture 2">
            <a:extLst>
              <a:ext uri="{FF2B5EF4-FFF2-40B4-BE49-F238E27FC236}">
                <a16:creationId xmlns:a16="http://schemas.microsoft.com/office/drawing/2014/main" id="{7F6C7855-192D-4517-B471-2CC065E654B3}"/>
              </a:ext>
            </a:extLst>
          </p:cNvPr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4014888" y="2039838"/>
            <a:ext cx="976286" cy="316666"/>
          </a:xfrm>
          <a:prstGeom prst="rect">
            <a:avLst/>
          </a:prstGeom>
        </p:spPr>
      </p:pic>
      <p:pic>
        <p:nvPicPr>
          <p:cNvPr id="223" name="Picture 46">
            <a:extLst>
              <a:ext uri="{FF2B5EF4-FFF2-40B4-BE49-F238E27FC236}">
                <a16:creationId xmlns:a16="http://schemas.microsoft.com/office/drawing/2014/main" id="{791B4CA2-0C3E-4F52-9D6B-331DEFC04005}"/>
              </a:ext>
            </a:extLst>
          </p:cNvPr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2926654" y="1873018"/>
            <a:ext cx="646444" cy="581299"/>
          </a:xfrm>
          <a:prstGeom prst="rect">
            <a:avLst/>
          </a:prstGeom>
        </p:spPr>
      </p:pic>
      <p:pic>
        <p:nvPicPr>
          <p:cNvPr id="225" name="Picture 44">
            <a:extLst>
              <a:ext uri="{FF2B5EF4-FFF2-40B4-BE49-F238E27FC236}">
                <a16:creationId xmlns:a16="http://schemas.microsoft.com/office/drawing/2014/main" id="{1172E812-F172-4CA0-AC96-181DA3DC5898}"/>
              </a:ext>
            </a:extLst>
          </p:cNvPr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5348126" y="981941"/>
            <a:ext cx="698171" cy="491047"/>
          </a:xfrm>
          <a:prstGeom prst="rect">
            <a:avLst/>
          </a:prstGeom>
        </p:spPr>
      </p:pic>
      <p:pic>
        <p:nvPicPr>
          <p:cNvPr id="224" name="Picture 45">
            <a:extLst>
              <a:ext uri="{FF2B5EF4-FFF2-40B4-BE49-F238E27FC236}">
                <a16:creationId xmlns:a16="http://schemas.microsoft.com/office/drawing/2014/main" id="{FF251F20-D2C6-469A-AD3C-84665C148C7A}"/>
              </a:ext>
            </a:extLst>
          </p:cNvPr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6460408" y="1056099"/>
            <a:ext cx="925861" cy="391948"/>
          </a:xfrm>
          <a:prstGeom prst="rect">
            <a:avLst/>
          </a:prstGeom>
        </p:spPr>
      </p:pic>
      <p:pic>
        <p:nvPicPr>
          <p:cNvPr id="226" name="Picture 40">
            <a:extLst>
              <a:ext uri="{FF2B5EF4-FFF2-40B4-BE49-F238E27FC236}">
                <a16:creationId xmlns:a16="http://schemas.microsoft.com/office/drawing/2014/main" id="{56DBACD5-7A03-4180-AA06-CC058DC871CF}"/>
              </a:ext>
            </a:extLst>
          </p:cNvPr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4187703" y="936745"/>
            <a:ext cx="630657" cy="630657"/>
          </a:xfrm>
          <a:prstGeom prst="rect">
            <a:avLst/>
          </a:prstGeom>
        </p:spPr>
      </p:pic>
      <p:pic>
        <p:nvPicPr>
          <p:cNvPr id="230" name="Picture 42">
            <a:extLst>
              <a:ext uri="{FF2B5EF4-FFF2-40B4-BE49-F238E27FC236}">
                <a16:creationId xmlns:a16="http://schemas.microsoft.com/office/drawing/2014/main" id="{3BC78D1A-B370-4AAA-9A93-7578017173D5}"/>
              </a:ext>
            </a:extLst>
          </p:cNvPr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5269882" y="210740"/>
            <a:ext cx="854659" cy="444423"/>
          </a:xfrm>
          <a:prstGeom prst="rect">
            <a:avLst/>
          </a:prstGeom>
        </p:spPr>
      </p:pic>
      <p:sp>
        <p:nvSpPr>
          <p:cNvPr id="232" name="object 20">
            <a:extLst>
              <a:ext uri="{FF2B5EF4-FFF2-40B4-BE49-F238E27FC236}">
                <a16:creationId xmlns:a16="http://schemas.microsoft.com/office/drawing/2014/main" id="{CC2AC477-B136-42BA-8C90-BB0A1CD7A70D}"/>
              </a:ext>
            </a:extLst>
          </p:cNvPr>
          <p:cNvSpPr/>
          <p:nvPr/>
        </p:nvSpPr>
        <p:spPr>
          <a:xfrm>
            <a:off x="5098058" y="739586"/>
            <a:ext cx="3810" cy="0"/>
          </a:xfrm>
          <a:custGeom>
            <a:avLst/>
            <a:gdLst/>
            <a:ahLst/>
            <a:cxnLst/>
            <a:rect l="l" t="t" r="r" b="b"/>
            <a:pathLst>
              <a:path w="3809">
                <a:moveTo>
                  <a:pt x="0" y="0"/>
                </a:moveTo>
                <a:lnTo>
                  <a:pt x="3682" y="0"/>
                </a:lnTo>
              </a:path>
            </a:pathLst>
          </a:custGeom>
          <a:ln w="3695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31" name="Picture 47">
            <a:extLst>
              <a:ext uri="{FF2B5EF4-FFF2-40B4-BE49-F238E27FC236}">
                <a16:creationId xmlns:a16="http://schemas.microsoft.com/office/drawing/2014/main" id="{B614B316-BA1D-450E-BC87-02F99696768D}"/>
              </a:ext>
            </a:extLst>
          </p:cNvPr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6433702" y="234262"/>
            <a:ext cx="979272" cy="386812"/>
          </a:xfrm>
          <a:prstGeom prst="rect">
            <a:avLst/>
          </a:prstGeom>
        </p:spPr>
      </p:pic>
      <p:sp>
        <p:nvSpPr>
          <p:cNvPr id="233" name="object 22">
            <a:extLst>
              <a:ext uri="{FF2B5EF4-FFF2-40B4-BE49-F238E27FC236}">
                <a16:creationId xmlns:a16="http://schemas.microsoft.com/office/drawing/2014/main" id="{8DF8E89E-6F7D-4FA8-AA36-086E14CB769C}"/>
              </a:ext>
            </a:extLst>
          </p:cNvPr>
          <p:cNvSpPr/>
          <p:nvPr/>
        </p:nvSpPr>
        <p:spPr>
          <a:xfrm>
            <a:off x="5094680" y="1703453"/>
            <a:ext cx="3810" cy="0"/>
          </a:xfrm>
          <a:custGeom>
            <a:avLst/>
            <a:gdLst/>
            <a:ahLst/>
            <a:cxnLst/>
            <a:rect l="l" t="t" r="r" b="b"/>
            <a:pathLst>
              <a:path w="3809">
                <a:moveTo>
                  <a:pt x="0" y="0"/>
                </a:moveTo>
                <a:lnTo>
                  <a:pt x="3682" y="0"/>
                </a:lnTo>
              </a:path>
            </a:pathLst>
          </a:custGeom>
          <a:ln w="3695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4" name="object 25">
            <a:extLst>
              <a:ext uri="{FF2B5EF4-FFF2-40B4-BE49-F238E27FC236}">
                <a16:creationId xmlns:a16="http://schemas.microsoft.com/office/drawing/2014/main" id="{E720CB57-A89A-4E2E-ABBE-E273FFB70C1D}"/>
              </a:ext>
            </a:extLst>
          </p:cNvPr>
          <p:cNvSpPr/>
          <p:nvPr/>
        </p:nvSpPr>
        <p:spPr>
          <a:xfrm>
            <a:off x="5091111" y="2718278"/>
            <a:ext cx="3810" cy="0"/>
          </a:xfrm>
          <a:custGeom>
            <a:avLst/>
            <a:gdLst/>
            <a:ahLst/>
            <a:cxnLst/>
            <a:rect l="l" t="t" r="r" b="b"/>
            <a:pathLst>
              <a:path w="3809">
                <a:moveTo>
                  <a:pt x="0" y="0"/>
                </a:moveTo>
                <a:lnTo>
                  <a:pt x="3682" y="0"/>
                </a:lnTo>
              </a:path>
            </a:pathLst>
          </a:custGeom>
          <a:ln w="370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5" name="object 28">
            <a:extLst>
              <a:ext uri="{FF2B5EF4-FFF2-40B4-BE49-F238E27FC236}">
                <a16:creationId xmlns:a16="http://schemas.microsoft.com/office/drawing/2014/main" id="{9B7E6001-0DDF-4338-994D-565F018EC729}"/>
              </a:ext>
            </a:extLst>
          </p:cNvPr>
          <p:cNvSpPr/>
          <p:nvPr/>
        </p:nvSpPr>
        <p:spPr>
          <a:xfrm>
            <a:off x="6254190" y="745835"/>
            <a:ext cx="3810" cy="0"/>
          </a:xfrm>
          <a:custGeom>
            <a:avLst/>
            <a:gdLst/>
            <a:ahLst/>
            <a:cxnLst/>
            <a:rect l="l" t="t" r="r" b="b"/>
            <a:pathLst>
              <a:path w="3809">
                <a:moveTo>
                  <a:pt x="0" y="0"/>
                </a:moveTo>
                <a:lnTo>
                  <a:pt x="3682" y="0"/>
                </a:lnTo>
              </a:path>
            </a:pathLst>
          </a:custGeom>
          <a:ln w="3695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6" name="object 30">
            <a:extLst>
              <a:ext uri="{FF2B5EF4-FFF2-40B4-BE49-F238E27FC236}">
                <a16:creationId xmlns:a16="http://schemas.microsoft.com/office/drawing/2014/main" id="{7F0648ED-09F1-44B6-9972-F06DE90480E1}"/>
              </a:ext>
            </a:extLst>
          </p:cNvPr>
          <p:cNvSpPr/>
          <p:nvPr/>
        </p:nvSpPr>
        <p:spPr>
          <a:xfrm>
            <a:off x="6251218" y="1711784"/>
            <a:ext cx="3810" cy="0"/>
          </a:xfrm>
          <a:custGeom>
            <a:avLst/>
            <a:gdLst/>
            <a:ahLst/>
            <a:cxnLst/>
            <a:rect l="l" t="t" r="r" b="b"/>
            <a:pathLst>
              <a:path w="3809">
                <a:moveTo>
                  <a:pt x="0" y="0"/>
                </a:moveTo>
                <a:lnTo>
                  <a:pt x="3682" y="0"/>
                </a:lnTo>
              </a:path>
            </a:pathLst>
          </a:custGeom>
          <a:ln w="3695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7" name="object 31">
            <a:extLst>
              <a:ext uri="{FF2B5EF4-FFF2-40B4-BE49-F238E27FC236}">
                <a16:creationId xmlns:a16="http://schemas.microsoft.com/office/drawing/2014/main" id="{CD66A226-C431-451A-9D3B-B0E6684E4413}"/>
              </a:ext>
            </a:extLst>
          </p:cNvPr>
          <p:cNvSpPr/>
          <p:nvPr/>
        </p:nvSpPr>
        <p:spPr>
          <a:xfrm>
            <a:off x="6248069" y="2729924"/>
            <a:ext cx="3810" cy="0"/>
          </a:xfrm>
          <a:custGeom>
            <a:avLst/>
            <a:gdLst/>
            <a:ahLst/>
            <a:cxnLst/>
            <a:rect l="l" t="t" r="r" b="b"/>
            <a:pathLst>
              <a:path w="3809">
                <a:moveTo>
                  <a:pt x="0" y="0"/>
                </a:moveTo>
                <a:lnTo>
                  <a:pt x="3682" y="0"/>
                </a:lnTo>
              </a:path>
            </a:pathLst>
          </a:custGeom>
          <a:ln w="370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8" name="object 33">
            <a:extLst>
              <a:ext uri="{FF2B5EF4-FFF2-40B4-BE49-F238E27FC236}">
                <a16:creationId xmlns:a16="http://schemas.microsoft.com/office/drawing/2014/main" id="{7B4E0345-B453-40CF-8ABB-2F199C9F9B3D}"/>
              </a:ext>
            </a:extLst>
          </p:cNvPr>
          <p:cNvSpPr/>
          <p:nvPr/>
        </p:nvSpPr>
        <p:spPr>
          <a:xfrm>
            <a:off x="3881106" y="733033"/>
            <a:ext cx="3810" cy="0"/>
          </a:xfrm>
          <a:custGeom>
            <a:avLst/>
            <a:gdLst/>
            <a:ahLst/>
            <a:cxnLst/>
            <a:rect l="l" t="t" r="r" b="b"/>
            <a:pathLst>
              <a:path w="3809">
                <a:moveTo>
                  <a:pt x="0" y="0"/>
                </a:moveTo>
                <a:lnTo>
                  <a:pt x="3695" y="0"/>
                </a:lnTo>
              </a:path>
            </a:pathLst>
          </a:custGeom>
          <a:ln w="3695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9" name="object 35">
            <a:extLst>
              <a:ext uri="{FF2B5EF4-FFF2-40B4-BE49-F238E27FC236}">
                <a16:creationId xmlns:a16="http://schemas.microsoft.com/office/drawing/2014/main" id="{4AA1B47A-CF74-46D5-B250-EE8DC0C6F38E}"/>
              </a:ext>
            </a:extLst>
          </p:cNvPr>
          <p:cNvSpPr/>
          <p:nvPr/>
        </p:nvSpPr>
        <p:spPr>
          <a:xfrm>
            <a:off x="3874337" y="1694677"/>
            <a:ext cx="3810" cy="0"/>
          </a:xfrm>
          <a:custGeom>
            <a:avLst/>
            <a:gdLst/>
            <a:ahLst/>
            <a:cxnLst/>
            <a:rect l="l" t="t" r="r" b="b"/>
            <a:pathLst>
              <a:path w="3809">
                <a:moveTo>
                  <a:pt x="0" y="0"/>
                </a:moveTo>
                <a:lnTo>
                  <a:pt x="3695" y="0"/>
                </a:lnTo>
              </a:path>
            </a:pathLst>
          </a:custGeom>
          <a:ln w="3695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0" name="object 36">
            <a:extLst>
              <a:ext uri="{FF2B5EF4-FFF2-40B4-BE49-F238E27FC236}">
                <a16:creationId xmlns:a16="http://schemas.microsoft.com/office/drawing/2014/main" id="{778C28DF-A642-4D8E-85D7-1326E152653E}"/>
              </a:ext>
            </a:extLst>
          </p:cNvPr>
          <p:cNvSpPr/>
          <p:nvPr/>
        </p:nvSpPr>
        <p:spPr>
          <a:xfrm>
            <a:off x="3867200" y="2705946"/>
            <a:ext cx="3810" cy="0"/>
          </a:xfrm>
          <a:custGeom>
            <a:avLst/>
            <a:gdLst/>
            <a:ahLst/>
            <a:cxnLst/>
            <a:rect l="l" t="t" r="r" b="b"/>
            <a:pathLst>
              <a:path w="3809">
                <a:moveTo>
                  <a:pt x="0" y="0"/>
                </a:moveTo>
                <a:lnTo>
                  <a:pt x="3695" y="0"/>
                </a:lnTo>
              </a:path>
            </a:pathLst>
          </a:custGeom>
          <a:ln w="370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41" name="Imagem 240">
            <a:extLst>
              <a:ext uri="{FF2B5EF4-FFF2-40B4-BE49-F238E27FC236}">
                <a16:creationId xmlns:a16="http://schemas.microsoft.com/office/drawing/2014/main" id="{6AE0CA46-259E-41D7-81F0-F5B7951852B0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1076" y="3612734"/>
            <a:ext cx="777601" cy="515809"/>
          </a:xfrm>
          <a:prstGeom prst="rect">
            <a:avLst/>
          </a:prstGeom>
        </p:spPr>
      </p:pic>
      <p:pic>
        <p:nvPicPr>
          <p:cNvPr id="242" name="Imagem 241">
            <a:extLst>
              <a:ext uri="{FF2B5EF4-FFF2-40B4-BE49-F238E27FC236}">
                <a16:creationId xmlns:a16="http://schemas.microsoft.com/office/drawing/2014/main" id="{82233FF1-707A-4161-AABA-B9BCFDA914FF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3982" y="3719600"/>
            <a:ext cx="978099" cy="302076"/>
          </a:xfrm>
          <a:prstGeom prst="rect">
            <a:avLst/>
          </a:prstGeom>
        </p:spPr>
      </p:pic>
      <p:pic>
        <p:nvPicPr>
          <p:cNvPr id="243" name="Imagem 242">
            <a:extLst>
              <a:ext uri="{FF2B5EF4-FFF2-40B4-BE49-F238E27FC236}">
                <a16:creationId xmlns:a16="http://schemas.microsoft.com/office/drawing/2014/main" id="{659D5703-EA38-4A12-8A9D-821951EAD46B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1218" y="3566973"/>
            <a:ext cx="551987" cy="566691"/>
          </a:xfrm>
          <a:prstGeom prst="rect">
            <a:avLst/>
          </a:prstGeom>
        </p:spPr>
      </p:pic>
      <p:pic>
        <p:nvPicPr>
          <p:cNvPr id="245" name="Imagem 244">
            <a:extLst>
              <a:ext uri="{FF2B5EF4-FFF2-40B4-BE49-F238E27FC236}">
                <a16:creationId xmlns:a16="http://schemas.microsoft.com/office/drawing/2014/main" id="{46799F7E-14EB-4F5A-BC7C-5D351C9E4FAA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0624" y="4467394"/>
            <a:ext cx="573175" cy="421452"/>
          </a:xfrm>
          <a:prstGeom prst="rect">
            <a:avLst/>
          </a:prstGeom>
        </p:spPr>
      </p:pic>
      <p:pic>
        <p:nvPicPr>
          <p:cNvPr id="244" name="Imagem 243">
            <a:extLst>
              <a:ext uri="{FF2B5EF4-FFF2-40B4-BE49-F238E27FC236}">
                <a16:creationId xmlns:a16="http://schemas.microsoft.com/office/drawing/2014/main" id="{51B19FDE-B4D0-4326-AD09-106A41AFD2B1}"/>
              </a:ext>
            </a:extLst>
          </p:cNvPr>
          <p:cNvPicPr>
            <a:picLocks noChangeAspect="1"/>
          </p:cNvPicPr>
          <p:nvPr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211"/>
          <a:stretch/>
        </p:blipFill>
        <p:spPr>
          <a:xfrm>
            <a:off x="6535671" y="3702348"/>
            <a:ext cx="775335" cy="467170"/>
          </a:xfrm>
          <a:prstGeom prst="rect">
            <a:avLst/>
          </a:prstGeom>
        </p:spPr>
      </p:pic>
      <p:pic>
        <p:nvPicPr>
          <p:cNvPr id="246" name="Imagem 245">
            <a:extLst>
              <a:ext uri="{FF2B5EF4-FFF2-40B4-BE49-F238E27FC236}">
                <a16:creationId xmlns:a16="http://schemas.microsoft.com/office/drawing/2014/main" id="{9BBF519C-1385-4545-9728-0D6CEA6FA017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6157" y="4396002"/>
            <a:ext cx="533749" cy="533749"/>
          </a:xfrm>
          <a:prstGeom prst="rect">
            <a:avLst/>
          </a:prstGeom>
        </p:spPr>
      </p:pic>
      <p:cxnSp>
        <p:nvCxnSpPr>
          <p:cNvPr id="247" name="Conector reto 246">
            <a:extLst>
              <a:ext uri="{FF2B5EF4-FFF2-40B4-BE49-F238E27FC236}">
                <a16:creationId xmlns:a16="http://schemas.microsoft.com/office/drawing/2014/main" id="{4098BDA5-FDC8-4539-AC55-E26C9DA7E489}"/>
              </a:ext>
            </a:extLst>
          </p:cNvPr>
          <p:cNvCxnSpPr/>
          <p:nvPr/>
        </p:nvCxnSpPr>
        <p:spPr>
          <a:xfrm>
            <a:off x="3867200" y="77257"/>
            <a:ext cx="0" cy="500120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8" name="Conector reto 247">
            <a:extLst>
              <a:ext uri="{FF2B5EF4-FFF2-40B4-BE49-F238E27FC236}">
                <a16:creationId xmlns:a16="http://schemas.microsoft.com/office/drawing/2014/main" id="{2ACFD8DD-26D5-4DBD-9B1C-8EEF0E739403}"/>
              </a:ext>
            </a:extLst>
          </p:cNvPr>
          <p:cNvCxnSpPr/>
          <p:nvPr/>
        </p:nvCxnSpPr>
        <p:spPr>
          <a:xfrm>
            <a:off x="2675131" y="3497208"/>
            <a:ext cx="6385674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9" name="Conector reto 248">
            <a:extLst>
              <a:ext uri="{FF2B5EF4-FFF2-40B4-BE49-F238E27FC236}">
                <a16:creationId xmlns:a16="http://schemas.microsoft.com/office/drawing/2014/main" id="{AEBDBCA0-08BE-427B-B25F-9CE5274431FF}"/>
              </a:ext>
            </a:extLst>
          </p:cNvPr>
          <p:cNvCxnSpPr/>
          <p:nvPr/>
        </p:nvCxnSpPr>
        <p:spPr>
          <a:xfrm>
            <a:off x="2675131" y="4274489"/>
            <a:ext cx="6385674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50" name="Imagem 249">
            <a:extLst>
              <a:ext uri="{FF2B5EF4-FFF2-40B4-BE49-F238E27FC236}">
                <a16:creationId xmlns:a16="http://schemas.microsoft.com/office/drawing/2014/main" id="{A9BCA893-0A0B-41B6-AE20-6EF8258042CA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6058" y="4467394"/>
            <a:ext cx="707636" cy="426663"/>
          </a:xfrm>
          <a:prstGeom prst="rect">
            <a:avLst/>
          </a:prstGeom>
        </p:spPr>
      </p:pic>
      <p:pic>
        <p:nvPicPr>
          <p:cNvPr id="253" name="Imagem 252">
            <a:extLst>
              <a:ext uri="{FF2B5EF4-FFF2-40B4-BE49-F238E27FC236}">
                <a16:creationId xmlns:a16="http://schemas.microsoft.com/office/drawing/2014/main" id="{18AD8948-30F2-4153-9840-EF1215B68656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1218" y="297361"/>
            <a:ext cx="821946" cy="271179"/>
          </a:xfrm>
          <a:prstGeom prst="rect">
            <a:avLst/>
          </a:prstGeom>
        </p:spPr>
      </p:pic>
      <p:pic>
        <p:nvPicPr>
          <p:cNvPr id="251" name="Imagem 250">
            <a:extLst>
              <a:ext uri="{FF2B5EF4-FFF2-40B4-BE49-F238E27FC236}">
                <a16:creationId xmlns:a16="http://schemas.microsoft.com/office/drawing/2014/main" id="{0A9BB904-163C-464A-B4BC-8D58C4E88682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5630" y="4482835"/>
            <a:ext cx="695417" cy="358835"/>
          </a:xfrm>
          <a:prstGeom prst="rect">
            <a:avLst/>
          </a:prstGeom>
        </p:spPr>
      </p:pic>
      <p:pic>
        <p:nvPicPr>
          <p:cNvPr id="254" name="Imagem 253">
            <a:extLst>
              <a:ext uri="{FF2B5EF4-FFF2-40B4-BE49-F238E27FC236}">
                <a16:creationId xmlns:a16="http://schemas.microsoft.com/office/drawing/2014/main" id="{4385E462-EE7D-4725-94C6-458A63468FC3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8053" y="1873018"/>
            <a:ext cx="748277" cy="660613"/>
          </a:xfrm>
          <a:prstGeom prst="rect">
            <a:avLst/>
          </a:prstGeom>
        </p:spPr>
      </p:pic>
      <p:pic>
        <p:nvPicPr>
          <p:cNvPr id="255" name="Imagem 254">
            <a:extLst>
              <a:ext uri="{FF2B5EF4-FFF2-40B4-BE49-F238E27FC236}">
                <a16:creationId xmlns:a16="http://schemas.microsoft.com/office/drawing/2014/main" id="{7B9DB0C8-9DC0-47A2-9CD0-EAE8F88270AB}"/>
              </a:ext>
            </a:extLst>
          </p:cNvPr>
          <p:cNvPicPr>
            <a:picLocks noChangeAspect="1"/>
          </p:cNvPicPr>
          <p:nvPr/>
        </p:nvPicPr>
        <p:blipFill rotWithShape="1"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072" b="20515"/>
          <a:stretch/>
        </p:blipFill>
        <p:spPr>
          <a:xfrm>
            <a:off x="3985173" y="194398"/>
            <a:ext cx="1035716" cy="386813"/>
          </a:xfrm>
          <a:prstGeom prst="rect">
            <a:avLst/>
          </a:prstGeom>
        </p:spPr>
      </p:pic>
      <p:pic>
        <p:nvPicPr>
          <p:cNvPr id="256" name="Imagem 255">
            <a:extLst>
              <a:ext uri="{FF2B5EF4-FFF2-40B4-BE49-F238E27FC236}">
                <a16:creationId xmlns:a16="http://schemas.microsoft.com/office/drawing/2014/main" id="{7E5FA101-A800-46B1-96C4-B8CFBAF155C2}"/>
              </a:ext>
            </a:extLst>
          </p:cNvPr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5365" y="4570541"/>
            <a:ext cx="1273653" cy="220368"/>
          </a:xfrm>
          <a:prstGeom prst="rect">
            <a:avLst/>
          </a:prstGeom>
        </p:spPr>
      </p:pic>
      <p:pic>
        <p:nvPicPr>
          <p:cNvPr id="267" name="Imagem 266">
            <a:extLst>
              <a:ext uri="{FF2B5EF4-FFF2-40B4-BE49-F238E27FC236}">
                <a16:creationId xmlns:a16="http://schemas.microsoft.com/office/drawing/2014/main" id="{6BF7B7A3-13CC-4E4B-940A-CF1B328B817B}"/>
              </a:ext>
            </a:extLst>
          </p:cNvPr>
          <p:cNvPicPr>
            <a:picLocks noChangeAspect="1"/>
          </p:cNvPicPr>
          <p:nvPr/>
        </p:nvPicPr>
        <p:blipFill rotWithShape="1"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114" b="10158"/>
          <a:stretch/>
        </p:blipFill>
        <p:spPr>
          <a:xfrm>
            <a:off x="7861495" y="2716182"/>
            <a:ext cx="941392" cy="712891"/>
          </a:xfrm>
          <a:prstGeom prst="rect">
            <a:avLst/>
          </a:prstGeom>
        </p:spPr>
      </p:pic>
      <p:pic>
        <p:nvPicPr>
          <p:cNvPr id="268" name="Imagem 267">
            <a:extLst>
              <a:ext uri="{FF2B5EF4-FFF2-40B4-BE49-F238E27FC236}">
                <a16:creationId xmlns:a16="http://schemas.microsoft.com/office/drawing/2014/main" id="{62E42144-1F40-4C62-8F40-692560B8C1CB}"/>
              </a:ext>
            </a:extLst>
          </p:cNvPr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9719" y="865755"/>
            <a:ext cx="744944" cy="778204"/>
          </a:xfrm>
          <a:prstGeom prst="rect">
            <a:avLst/>
          </a:prstGeom>
        </p:spPr>
      </p:pic>
      <p:pic>
        <p:nvPicPr>
          <p:cNvPr id="269" name="Imagem 268">
            <a:extLst>
              <a:ext uri="{FF2B5EF4-FFF2-40B4-BE49-F238E27FC236}">
                <a16:creationId xmlns:a16="http://schemas.microsoft.com/office/drawing/2014/main" id="{DC574491-3629-41D9-A293-45DFB5B7826C}"/>
              </a:ext>
            </a:extLst>
          </p:cNvPr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5300" y="3556971"/>
            <a:ext cx="1133783" cy="708614"/>
          </a:xfrm>
          <a:prstGeom prst="rect">
            <a:avLst/>
          </a:prstGeom>
        </p:spPr>
      </p:pic>
      <p:cxnSp>
        <p:nvCxnSpPr>
          <p:cNvPr id="270" name="Conector reto 269">
            <a:extLst>
              <a:ext uri="{FF2B5EF4-FFF2-40B4-BE49-F238E27FC236}">
                <a16:creationId xmlns:a16="http://schemas.microsoft.com/office/drawing/2014/main" id="{3D1DC5D0-3312-4076-B476-30EBA6285C85}"/>
              </a:ext>
            </a:extLst>
          </p:cNvPr>
          <p:cNvCxnSpPr/>
          <p:nvPr/>
        </p:nvCxnSpPr>
        <p:spPr>
          <a:xfrm>
            <a:off x="7618816" y="77257"/>
            <a:ext cx="0" cy="500120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3" name="Imagem 2" descr="Uma imagem contendo céu, ao ar livre, vermelho&#10;&#10;Descrição gerada automaticamente">
            <a:extLst>
              <a:ext uri="{FF2B5EF4-FFF2-40B4-BE49-F238E27FC236}">
                <a16:creationId xmlns:a16="http://schemas.microsoft.com/office/drawing/2014/main" id="{13C8A069-8F8B-4013-A1CB-3ABC407DF269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2974655" y="117841"/>
            <a:ext cx="532028" cy="655281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28DE72A8-168A-44CA-9DD1-F9DF319EB002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2889530" y="858150"/>
            <a:ext cx="706796" cy="706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38089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object 16"/>
          <p:cNvSpPr txBox="1"/>
          <p:nvPr/>
        </p:nvSpPr>
        <p:spPr>
          <a:xfrm>
            <a:off x="76200" y="1849832"/>
            <a:ext cx="2468880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/>
            <a:r>
              <a:rPr lang="pt-BR" sz="3600" dirty="0" err="1">
                <a:solidFill>
                  <a:schemeClr val="bg2">
                    <a:lumMod val="75000"/>
                  </a:schemeClr>
                </a:solidFill>
                <a:latin typeface="Century Gothic" panose="020B0502020202020204" pitchFamily="34" charset="0"/>
                <a:cs typeface="Calibri"/>
              </a:rPr>
              <a:t>Current</a:t>
            </a:r>
            <a:r>
              <a:rPr lang="pt-BR" sz="3600" dirty="0">
                <a:solidFill>
                  <a:schemeClr val="bg2">
                    <a:lumMod val="75000"/>
                  </a:schemeClr>
                </a:solidFill>
                <a:latin typeface="Century Gothic" panose="020B0502020202020204" pitchFamily="34" charset="0"/>
                <a:cs typeface="Calibri"/>
              </a:rPr>
              <a:t> Market</a:t>
            </a:r>
          </a:p>
        </p:txBody>
      </p:sp>
      <p:pic>
        <p:nvPicPr>
          <p:cNvPr id="113" name="Picture 19" descr="C:\Users\Michelle\Pictures\Saved Pictures\Saved Pictures\Logo EN escrito verde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5316"/>
          <a:stretch/>
        </p:blipFill>
        <p:spPr bwMode="auto">
          <a:xfrm>
            <a:off x="8557053" y="4795047"/>
            <a:ext cx="447248" cy="233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60" name="Agrupar 6">
            <a:extLst>
              <a:ext uri="{FF2B5EF4-FFF2-40B4-BE49-F238E27FC236}">
                <a16:creationId xmlns:a16="http://schemas.microsoft.com/office/drawing/2014/main" id="{65E3C65F-8797-4DCE-89F2-CB902E8BF9A3}"/>
              </a:ext>
            </a:extLst>
          </p:cNvPr>
          <p:cNvGrpSpPr/>
          <p:nvPr/>
        </p:nvGrpSpPr>
        <p:grpSpPr>
          <a:xfrm>
            <a:off x="2846095" y="240879"/>
            <a:ext cx="890111" cy="1024216"/>
            <a:chOff x="40246" y="2252433"/>
            <a:chExt cx="1140434" cy="1312253"/>
          </a:xfrm>
        </p:grpSpPr>
        <p:grpSp>
          <p:nvGrpSpPr>
            <p:cNvPr id="461" name="Agrupar 5">
              <a:extLst>
                <a:ext uri="{FF2B5EF4-FFF2-40B4-BE49-F238E27FC236}">
                  <a16:creationId xmlns:a16="http://schemas.microsoft.com/office/drawing/2014/main" id="{1B58558E-C9DC-4D3D-9E21-D9177C5A4AC4}"/>
                </a:ext>
              </a:extLst>
            </p:cNvPr>
            <p:cNvGrpSpPr/>
            <p:nvPr/>
          </p:nvGrpSpPr>
          <p:grpSpPr>
            <a:xfrm>
              <a:off x="149306" y="2654096"/>
              <a:ext cx="910590" cy="910590"/>
              <a:chOff x="105194" y="2654096"/>
              <a:chExt cx="910590" cy="910590"/>
            </a:xfrm>
          </p:grpSpPr>
          <p:pic>
            <p:nvPicPr>
              <p:cNvPr id="463" name="Picture 10" descr="Resultado de imagem para seeds"/>
              <p:cNvPicPr>
                <a:picLocks noChangeAspect="1" noChangeArrowheads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6663" r="10633"/>
              <a:stretch/>
            </p:blipFill>
            <p:spPr bwMode="auto">
              <a:xfrm>
                <a:off x="121342" y="2675748"/>
                <a:ext cx="890016" cy="88238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64" name="object 22"/>
              <p:cNvSpPr/>
              <p:nvPr/>
            </p:nvSpPr>
            <p:spPr>
              <a:xfrm>
                <a:off x="105194" y="2654096"/>
                <a:ext cx="910590" cy="910590"/>
              </a:xfrm>
              <a:custGeom>
                <a:avLst/>
                <a:gdLst/>
                <a:ahLst/>
                <a:cxnLst/>
                <a:rect l="l" t="t" r="r" b="b"/>
                <a:pathLst>
                  <a:path w="910590" h="910589">
                    <a:moveTo>
                      <a:pt x="76200" y="0"/>
                    </a:moveTo>
                    <a:lnTo>
                      <a:pt x="32146" y="1190"/>
                    </a:lnTo>
                    <a:lnTo>
                      <a:pt x="9525" y="9525"/>
                    </a:lnTo>
                    <a:lnTo>
                      <a:pt x="1190" y="32146"/>
                    </a:lnTo>
                    <a:lnTo>
                      <a:pt x="0" y="76200"/>
                    </a:lnTo>
                    <a:lnTo>
                      <a:pt x="0" y="833818"/>
                    </a:lnTo>
                    <a:lnTo>
                      <a:pt x="1190" y="877871"/>
                    </a:lnTo>
                    <a:lnTo>
                      <a:pt x="9525" y="900493"/>
                    </a:lnTo>
                    <a:lnTo>
                      <a:pt x="32146" y="908827"/>
                    </a:lnTo>
                    <a:lnTo>
                      <a:pt x="76200" y="910018"/>
                    </a:lnTo>
                    <a:lnTo>
                      <a:pt x="833818" y="910018"/>
                    </a:lnTo>
                    <a:lnTo>
                      <a:pt x="877871" y="908827"/>
                    </a:lnTo>
                    <a:lnTo>
                      <a:pt x="900493" y="900493"/>
                    </a:lnTo>
                    <a:lnTo>
                      <a:pt x="908827" y="877871"/>
                    </a:lnTo>
                    <a:lnTo>
                      <a:pt x="910018" y="833818"/>
                    </a:lnTo>
                    <a:lnTo>
                      <a:pt x="910018" y="76200"/>
                    </a:lnTo>
                    <a:lnTo>
                      <a:pt x="908827" y="32146"/>
                    </a:lnTo>
                    <a:lnTo>
                      <a:pt x="900493" y="9525"/>
                    </a:lnTo>
                    <a:lnTo>
                      <a:pt x="877871" y="1190"/>
                    </a:lnTo>
                    <a:lnTo>
                      <a:pt x="833818" y="0"/>
                    </a:lnTo>
                    <a:lnTo>
                      <a:pt x="76200" y="0"/>
                    </a:lnTo>
                    <a:close/>
                  </a:path>
                </a:pathLst>
              </a:custGeom>
              <a:ln w="38100">
                <a:solidFill>
                  <a:srgbClr val="54C09E"/>
                </a:solidFill>
              </a:ln>
            </p:spPr>
            <p:txBody>
              <a:bodyPr wrap="square" lIns="0" tIns="0" rIns="0" bIns="0" rtlCol="0"/>
              <a:lstStyle/>
              <a:p>
                <a:pPr algn="ctr"/>
                <a:endParaRPr lang="pt-BR" sz="1000" dirty="0"/>
              </a:p>
            </p:txBody>
          </p:sp>
        </p:grpSp>
        <p:sp>
          <p:nvSpPr>
            <p:cNvPr id="462" name="object 39"/>
            <p:cNvSpPr txBox="1"/>
            <p:nvPr/>
          </p:nvSpPr>
          <p:spPr>
            <a:xfrm>
              <a:off x="40246" y="2252433"/>
              <a:ext cx="1140434" cy="17744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algn="ctr"/>
              <a:r>
                <a:rPr lang="pt-BR" sz="900" dirty="0">
                  <a:latin typeface="Century Gothic"/>
                  <a:cs typeface="Century Gothic"/>
                </a:rPr>
                <a:t>Breeders</a:t>
              </a:r>
            </a:p>
          </p:txBody>
        </p:sp>
      </p:grpSp>
      <p:grpSp>
        <p:nvGrpSpPr>
          <p:cNvPr id="465" name="Agrupar 8">
            <a:extLst>
              <a:ext uri="{FF2B5EF4-FFF2-40B4-BE49-F238E27FC236}">
                <a16:creationId xmlns:a16="http://schemas.microsoft.com/office/drawing/2014/main" id="{41A38A11-81A5-4602-A872-430F5FECC55D}"/>
              </a:ext>
            </a:extLst>
          </p:cNvPr>
          <p:cNvGrpSpPr/>
          <p:nvPr/>
        </p:nvGrpSpPr>
        <p:grpSpPr>
          <a:xfrm>
            <a:off x="4975652" y="286584"/>
            <a:ext cx="959181" cy="1007292"/>
            <a:chOff x="2356896" y="2267555"/>
            <a:chExt cx="1228929" cy="1290573"/>
          </a:xfrm>
        </p:grpSpPr>
        <p:grpSp>
          <p:nvGrpSpPr>
            <p:cNvPr id="466" name="Agrupar 2">
              <a:extLst>
                <a:ext uri="{FF2B5EF4-FFF2-40B4-BE49-F238E27FC236}">
                  <a16:creationId xmlns:a16="http://schemas.microsoft.com/office/drawing/2014/main" id="{568D5E0F-8E81-4755-B4A3-6E808DE72EEC}"/>
                </a:ext>
              </a:extLst>
            </p:cNvPr>
            <p:cNvGrpSpPr/>
            <p:nvPr/>
          </p:nvGrpSpPr>
          <p:grpSpPr>
            <a:xfrm>
              <a:off x="2516065" y="2647538"/>
              <a:ext cx="910590" cy="910590"/>
              <a:chOff x="2349788" y="2654096"/>
              <a:chExt cx="910590" cy="910590"/>
            </a:xfrm>
          </p:grpSpPr>
          <p:pic>
            <p:nvPicPr>
              <p:cNvPr id="468" name="Picture 6" descr="Resultado de imagem para beneficiamento de semente"/>
              <p:cNvPicPr>
                <a:picLocks noChangeAspect="1" noChangeArrowheads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13327"/>
              <a:stretch/>
            </p:blipFill>
            <p:spPr bwMode="auto">
              <a:xfrm>
                <a:off x="2354148" y="2661799"/>
                <a:ext cx="900538" cy="88507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69" name="object 26"/>
              <p:cNvSpPr/>
              <p:nvPr/>
            </p:nvSpPr>
            <p:spPr>
              <a:xfrm>
                <a:off x="2349788" y="2654096"/>
                <a:ext cx="910590" cy="910590"/>
              </a:xfrm>
              <a:custGeom>
                <a:avLst/>
                <a:gdLst/>
                <a:ahLst/>
                <a:cxnLst/>
                <a:rect l="l" t="t" r="r" b="b"/>
                <a:pathLst>
                  <a:path w="910589" h="910589">
                    <a:moveTo>
                      <a:pt x="76200" y="0"/>
                    </a:moveTo>
                    <a:lnTo>
                      <a:pt x="32146" y="1190"/>
                    </a:lnTo>
                    <a:lnTo>
                      <a:pt x="9525" y="9525"/>
                    </a:lnTo>
                    <a:lnTo>
                      <a:pt x="1190" y="32146"/>
                    </a:lnTo>
                    <a:lnTo>
                      <a:pt x="0" y="76200"/>
                    </a:lnTo>
                    <a:lnTo>
                      <a:pt x="0" y="833818"/>
                    </a:lnTo>
                    <a:lnTo>
                      <a:pt x="1190" y="877871"/>
                    </a:lnTo>
                    <a:lnTo>
                      <a:pt x="9525" y="900493"/>
                    </a:lnTo>
                    <a:lnTo>
                      <a:pt x="32146" y="908827"/>
                    </a:lnTo>
                    <a:lnTo>
                      <a:pt x="76200" y="910018"/>
                    </a:lnTo>
                    <a:lnTo>
                      <a:pt x="833818" y="910018"/>
                    </a:lnTo>
                    <a:lnTo>
                      <a:pt x="877871" y="908827"/>
                    </a:lnTo>
                    <a:lnTo>
                      <a:pt x="900493" y="900493"/>
                    </a:lnTo>
                    <a:lnTo>
                      <a:pt x="908827" y="877871"/>
                    </a:lnTo>
                    <a:lnTo>
                      <a:pt x="910018" y="833818"/>
                    </a:lnTo>
                    <a:lnTo>
                      <a:pt x="910018" y="76200"/>
                    </a:lnTo>
                    <a:lnTo>
                      <a:pt x="908827" y="32146"/>
                    </a:lnTo>
                    <a:lnTo>
                      <a:pt x="900493" y="9525"/>
                    </a:lnTo>
                    <a:lnTo>
                      <a:pt x="877871" y="1190"/>
                    </a:lnTo>
                    <a:lnTo>
                      <a:pt x="833818" y="0"/>
                    </a:lnTo>
                    <a:lnTo>
                      <a:pt x="76200" y="0"/>
                    </a:lnTo>
                    <a:close/>
                  </a:path>
                </a:pathLst>
              </a:custGeom>
              <a:ln w="38100">
                <a:solidFill>
                  <a:srgbClr val="54C09E"/>
                </a:solidFill>
              </a:ln>
            </p:spPr>
            <p:txBody>
              <a:bodyPr wrap="square" lIns="0" tIns="0" rIns="0" bIns="0" rtlCol="0"/>
              <a:lstStyle/>
              <a:p>
                <a:pPr algn="ctr"/>
                <a:endParaRPr lang="pt-BR" sz="1000" dirty="0"/>
              </a:p>
            </p:txBody>
          </p:sp>
        </p:grpSp>
        <p:sp>
          <p:nvSpPr>
            <p:cNvPr id="467" name="object 47"/>
            <p:cNvSpPr txBox="1"/>
            <p:nvPr/>
          </p:nvSpPr>
          <p:spPr>
            <a:xfrm>
              <a:off x="2356896" y="2267555"/>
              <a:ext cx="1228929" cy="17744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algn="ctr"/>
              <a:r>
                <a:rPr lang="pt-BR" sz="900" dirty="0" err="1">
                  <a:latin typeface="Century Gothic"/>
                  <a:cs typeface="Century Gothic"/>
                </a:rPr>
                <a:t>Processing</a:t>
              </a:r>
              <a:r>
                <a:rPr lang="pt-BR" sz="900" dirty="0">
                  <a:latin typeface="Century Gothic"/>
                  <a:cs typeface="Century Gothic"/>
                </a:rPr>
                <a:t> </a:t>
              </a:r>
              <a:r>
                <a:rPr lang="pt-BR" sz="900" dirty="0" err="1">
                  <a:latin typeface="Century Gothic"/>
                  <a:cs typeface="Century Gothic"/>
                </a:rPr>
                <a:t>units</a:t>
              </a:r>
              <a:endParaRPr lang="pt-BR" sz="900" dirty="0">
                <a:latin typeface="Century Gothic"/>
                <a:cs typeface="Century Gothic"/>
              </a:endParaRPr>
            </a:p>
          </p:txBody>
        </p:sp>
      </p:grpSp>
      <p:grpSp>
        <p:nvGrpSpPr>
          <p:cNvPr id="473" name="Agrupar 7">
            <a:extLst>
              <a:ext uri="{FF2B5EF4-FFF2-40B4-BE49-F238E27FC236}">
                <a16:creationId xmlns:a16="http://schemas.microsoft.com/office/drawing/2014/main" id="{504F07CA-5025-4288-80B1-9A54BAE79393}"/>
              </a:ext>
            </a:extLst>
          </p:cNvPr>
          <p:cNvGrpSpPr/>
          <p:nvPr/>
        </p:nvGrpSpPr>
        <p:grpSpPr>
          <a:xfrm>
            <a:off x="3973567" y="213908"/>
            <a:ext cx="757104" cy="1051067"/>
            <a:chOff x="1235248" y="2221838"/>
            <a:chExt cx="970023" cy="1346659"/>
          </a:xfrm>
        </p:grpSpPr>
        <p:sp>
          <p:nvSpPr>
            <p:cNvPr id="474" name="object 40"/>
            <p:cNvSpPr txBox="1"/>
            <p:nvPr/>
          </p:nvSpPr>
          <p:spPr>
            <a:xfrm>
              <a:off x="1235248" y="2221838"/>
              <a:ext cx="970023" cy="53234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algn="ctr"/>
              <a:r>
                <a:rPr lang="pt-BR" sz="900" dirty="0" err="1">
                  <a:latin typeface="Century Gothic"/>
                  <a:cs typeface="Century Gothic"/>
                </a:rPr>
                <a:t>Multipliers</a:t>
              </a:r>
              <a:r>
                <a:rPr lang="pt-BR" sz="900" dirty="0">
                  <a:latin typeface="Century Gothic"/>
                  <a:cs typeface="Century Gothic"/>
                </a:rPr>
                <a:t> / </a:t>
              </a:r>
              <a:r>
                <a:rPr lang="pt-BR" sz="900" dirty="0" err="1">
                  <a:latin typeface="Century Gothic"/>
                  <a:cs typeface="Century Gothic"/>
                </a:rPr>
                <a:t>Distributors</a:t>
              </a:r>
              <a:endParaRPr lang="pt-BR" sz="900" dirty="0">
                <a:latin typeface="Century Gothic"/>
                <a:cs typeface="Century Gothic"/>
              </a:endParaRPr>
            </a:p>
            <a:p>
              <a:pPr marL="12700" algn="ctr">
                <a:lnSpc>
                  <a:spcPct val="100000"/>
                </a:lnSpc>
              </a:pPr>
              <a:endParaRPr lang="pt-BR" sz="900" dirty="0">
                <a:latin typeface="Century Gothic"/>
                <a:cs typeface="Century Gothic"/>
              </a:endParaRPr>
            </a:p>
          </p:txBody>
        </p:sp>
        <p:grpSp>
          <p:nvGrpSpPr>
            <p:cNvPr id="475" name="Agrupar 4">
              <a:extLst>
                <a:ext uri="{FF2B5EF4-FFF2-40B4-BE49-F238E27FC236}">
                  <a16:creationId xmlns:a16="http://schemas.microsoft.com/office/drawing/2014/main" id="{3C18A72C-ECE1-4BCE-AA7D-9AA2A3646327}"/>
                </a:ext>
              </a:extLst>
            </p:cNvPr>
            <p:cNvGrpSpPr/>
            <p:nvPr/>
          </p:nvGrpSpPr>
          <p:grpSpPr>
            <a:xfrm>
              <a:off x="1264964" y="2654096"/>
              <a:ext cx="910590" cy="914401"/>
              <a:chOff x="1227489" y="2654096"/>
              <a:chExt cx="910590" cy="914401"/>
            </a:xfrm>
          </p:grpSpPr>
          <p:pic>
            <p:nvPicPr>
              <p:cNvPr id="476" name="Picture 4" descr="Resultado de imagem para seeds"/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582" r="15343"/>
              <a:stretch/>
            </p:blipFill>
            <p:spPr bwMode="auto">
              <a:xfrm>
                <a:off x="1243006" y="2661732"/>
                <a:ext cx="883920" cy="9067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77" name="object 24"/>
              <p:cNvSpPr/>
              <p:nvPr/>
            </p:nvSpPr>
            <p:spPr>
              <a:xfrm>
                <a:off x="1227489" y="2654096"/>
                <a:ext cx="910590" cy="910590"/>
              </a:xfrm>
              <a:custGeom>
                <a:avLst/>
                <a:gdLst/>
                <a:ahLst/>
                <a:cxnLst/>
                <a:rect l="l" t="t" r="r" b="b"/>
                <a:pathLst>
                  <a:path w="910589" h="910589">
                    <a:moveTo>
                      <a:pt x="76200" y="0"/>
                    </a:moveTo>
                    <a:lnTo>
                      <a:pt x="32146" y="1190"/>
                    </a:lnTo>
                    <a:lnTo>
                      <a:pt x="9525" y="9525"/>
                    </a:lnTo>
                    <a:lnTo>
                      <a:pt x="1190" y="32146"/>
                    </a:lnTo>
                    <a:lnTo>
                      <a:pt x="0" y="76200"/>
                    </a:lnTo>
                    <a:lnTo>
                      <a:pt x="0" y="833818"/>
                    </a:lnTo>
                    <a:lnTo>
                      <a:pt x="1190" y="877871"/>
                    </a:lnTo>
                    <a:lnTo>
                      <a:pt x="9525" y="900493"/>
                    </a:lnTo>
                    <a:lnTo>
                      <a:pt x="32146" y="908827"/>
                    </a:lnTo>
                    <a:lnTo>
                      <a:pt x="76200" y="910018"/>
                    </a:lnTo>
                    <a:lnTo>
                      <a:pt x="833818" y="910018"/>
                    </a:lnTo>
                    <a:lnTo>
                      <a:pt x="877871" y="908827"/>
                    </a:lnTo>
                    <a:lnTo>
                      <a:pt x="900493" y="900493"/>
                    </a:lnTo>
                    <a:lnTo>
                      <a:pt x="908827" y="877871"/>
                    </a:lnTo>
                    <a:lnTo>
                      <a:pt x="910018" y="833818"/>
                    </a:lnTo>
                    <a:lnTo>
                      <a:pt x="910018" y="76200"/>
                    </a:lnTo>
                    <a:lnTo>
                      <a:pt x="908827" y="32146"/>
                    </a:lnTo>
                    <a:lnTo>
                      <a:pt x="900493" y="9525"/>
                    </a:lnTo>
                    <a:lnTo>
                      <a:pt x="877871" y="1190"/>
                    </a:lnTo>
                    <a:lnTo>
                      <a:pt x="833818" y="0"/>
                    </a:lnTo>
                    <a:lnTo>
                      <a:pt x="76200" y="0"/>
                    </a:lnTo>
                    <a:close/>
                  </a:path>
                </a:pathLst>
              </a:custGeom>
              <a:ln w="38100">
                <a:solidFill>
                  <a:srgbClr val="54C09E"/>
                </a:solidFill>
              </a:ln>
            </p:spPr>
            <p:txBody>
              <a:bodyPr wrap="square" lIns="0" tIns="0" rIns="0" bIns="0" rtlCol="0"/>
              <a:lstStyle/>
              <a:p>
                <a:pPr algn="ctr"/>
                <a:endParaRPr lang="pt-BR" sz="1000" dirty="0"/>
              </a:p>
            </p:txBody>
          </p:sp>
        </p:grpSp>
      </p:grpSp>
      <p:grpSp>
        <p:nvGrpSpPr>
          <p:cNvPr id="478" name="Agrupar 18">
            <a:extLst>
              <a:ext uri="{FF2B5EF4-FFF2-40B4-BE49-F238E27FC236}">
                <a16:creationId xmlns:a16="http://schemas.microsoft.com/office/drawing/2014/main" id="{B19D5146-84BB-478D-BB45-9F8CAB965B0B}"/>
              </a:ext>
            </a:extLst>
          </p:cNvPr>
          <p:cNvGrpSpPr/>
          <p:nvPr/>
        </p:nvGrpSpPr>
        <p:grpSpPr>
          <a:xfrm>
            <a:off x="3804576" y="1588564"/>
            <a:ext cx="1094876" cy="1015159"/>
            <a:chOff x="1118445" y="3669643"/>
            <a:chExt cx="1411887" cy="1309090"/>
          </a:xfrm>
        </p:grpSpPr>
        <p:grpSp>
          <p:nvGrpSpPr>
            <p:cNvPr id="479" name="Agrupar 16">
              <a:extLst>
                <a:ext uri="{FF2B5EF4-FFF2-40B4-BE49-F238E27FC236}">
                  <a16:creationId xmlns:a16="http://schemas.microsoft.com/office/drawing/2014/main" id="{D0D98064-8EBF-42F4-9C05-A461153DB838}"/>
                </a:ext>
              </a:extLst>
            </p:cNvPr>
            <p:cNvGrpSpPr/>
            <p:nvPr/>
          </p:nvGrpSpPr>
          <p:grpSpPr>
            <a:xfrm>
              <a:off x="1362124" y="4068143"/>
              <a:ext cx="917560" cy="910590"/>
              <a:chOff x="1362124" y="4068143"/>
              <a:chExt cx="917560" cy="910590"/>
            </a:xfrm>
          </p:grpSpPr>
          <p:pic>
            <p:nvPicPr>
              <p:cNvPr id="481" name="Picture 12">
                <a:extLst>
                  <a:ext uri="{FF2B5EF4-FFF2-40B4-BE49-F238E27FC236}">
                    <a16:creationId xmlns:a16="http://schemas.microsoft.com/office/drawing/2014/main" id="{EB7AF385-AC46-4076-9421-3387F255B3E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1362124" y="4076446"/>
                <a:ext cx="902643" cy="89022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82" name="object 32">
                <a:extLst>
                  <a:ext uri="{FF2B5EF4-FFF2-40B4-BE49-F238E27FC236}">
                    <a16:creationId xmlns:a16="http://schemas.microsoft.com/office/drawing/2014/main" id="{DFCCB342-5407-45C0-8AB8-FE48BF8A30A2}"/>
                  </a:ext>
                </a:extLst>
              </p:cNvPr>
              <p:cNvSpPr/>
              <p:nvPr/>
            </p:nvSpPr>
            <p:spPr>
              <a:xfrm>
                <a:off x="1369094" y="4068143"/>
                <a:ext cx="910590" cy="910590"/>
              </a:xfrm>
              <a:custGeom>
                <a:avLst/>
                <a:gdLst/>
                <a:ahLst/>
                <a:cxnLst/>
                <a:rect l="l" t="t" r="r" b="b"/>
                <a:pathLst>
                  <a:path w="910590" h="910589">
                    <a:moveTo>
                      <a:pt x="76200" y="0"/>
                    </a:moveTo>
                    <a:lnTo>
                      <a:pt x="32146" y="1190"/>
                    </a:lnTo>
                    <a:lnTo>
                      <a:pt x="9525" y="9525"/>
                    </a:lnTo>
                    <a:lnTo>
                      <a:pt x="1190" y="32146"/>
                    </a:lnTo>
                    <a:lnTo>
                      <a:pt x="0" y="76200"/>
                    </a:lnTo>
                    <a:lnTo>
                      <a:pt x="0" y="833818"/>
                    </a:lnTo>
                    <a:lnTo>
                      <a:pt x="1190" y="877871"/>
                    </a:lnTo>
                    <a:lnTo>
                      <a:pt x="9525" y="900493"/>
                    </a:lnTo>
                    <a:lnTo>
                      <a:pt x="32146" y="908827"/>
                    </a:lnTo>
                    <a:lnTo>
                      <a:pt x="76200" y="910018"/>
                    </a:lnTo>
                    <a:lnTo>
                      <a:pt x="833818" y="910018"/>
                    </a:lnTo>
                    <a:lnTo>
                      <a:pt x="877871" y="908827"/>
                    </a:lnTo>
                    <a:lnTo>
                      <a:pt x="900493" y="900493"/>
                    </a:lnTo>
                    <a:lnTo>
                      <a:pt x="908827" y="877871"/>
                    </a:lnTo>
                    <a:lnTo>
                      <a:pt x="910018" y="833818"/>
                    </a:lnTo>
                    <a:lnTo>
                      <a:pt x="910018" y="76200"/>
                    </a:lnTo>
                    <a:lnTo>
                      <a:pt x="908827" y="32146"/>
                    </a:lnTo>
                    <a:lnTo>
                      <a:pt x="900493" y="9525"/>
                    </a:lnTo>
                    <a:lnTo>
                      <a:pt x="877871" y="1190"/>
                    </a:lnTo>
                    <a:lnTo>
                      <a:pt x="833818" y="0"/>
                    </a:lnTo>
                    <a:lnTo>
                      <a:pt x="76200" y="0"/>
                    </a:lnTo>
                    <a:close/>
                  </a:path>
                </a:pathLst>
              </a:custGeom>
              <a:ln w="38100">
                <a:solidFill>
                  <a:srgbClr val="538C80"/>
                </a:solidFill>
              </a:ln>
            </p:spPr>
            <p:txBody>
              <a:bodyPr wrap="square" lIns="0" tIns="0" rIns="0" bIns="0" rtlCol="0"/>
              <a:lstStyle/>
              <a:p>
                <a:endParaRPr lang="pt-BR" sz="1000" dirty="0"/>
              </a:p>
            </p:txBody>
          </p:sp>
        </p:grpSp>
        <p:sp>
          <p:nvSpPr>
            <p:cNvPr id="480" name="object 51">
              <a:extLst>
                <a:ext uri="{FF2B5EF4-FFF2-40B4-BE49-F238E27FC236}">
                  <a16:creationId xmlns:a16="http://schemas.microsoft.com/office/drawing/2014/main" id="{3961D8E3-9588-4D38-8FDD-13461D6EE66C}"/>
                </a:ext>
              </a:extLst>
            </p:cNvPr>
            <p:cNvSpPr txBox="1"/>
            <p:nvPr/>
          </p:nvSpPr>
          <p:spPr>
            <a:xfrm>
              <a:off x="1118445" y="3669643"/>
              <a:ext cx="1411887" cy="17860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62560" marR="5080" indent="-150495" algn="ctr"/>
              <a:r>
                <a:rPr lang="pt-BR" sz="900" dirty="0">
                  <a:latin typeface="Century Gothic"/>
                  <a:cs typeface="Century Gothic"/>
                </a:rPr>
                <a:t>TIC </a:t>
              </a:r>
              <a:r>
                <a:rPr lang="pt-BR" sz="900" dirty="0" err="1">
                  <a:latin typeface="Century Gothic"/>
                  <a:cs typeface="Century Gothic"/>
                </a:rPr>
                <a:t>Companies</a:t>
              </a:r>
              <a:endParaRPr lang="pt-BR" sz="900" dirty="0">
                <a:latin typeface="Century Gothic"/>
                <a:cs typeface="Century Gothic"/>
              </a:endParaRPr>
            </a:p>
          </p:txBody>
        </p:sp>
      </p:grpSp>
      <p:grpSp>
        <p:nvGrpSpPr>
          <p:cNvPr id="483" name="Agrupar 9">
            <a:extLst>
              <a:ext uri="{FF2B5EF4-FFF2-40B4-BE49-F238E27FC236}">
                <a16:creationId xmlns:a16="http://schemas.microsoft.com/office/drawing/2014/main" id="{837A1894-828B-42A8-ADE8-F9F4423B25E4}"/>
              </a:ext>
            </a:extLst>
          </p:cNvPr>
          <p:cNvGrpSpPr/>
          <p:nvPr/>
        </p:nvGrpSpPr>
        <p:grpSpPr>
          <a:xfrm>
            <a:off x="6051543" y="213303"/>
            <a:ext cx="959181" cy="1079369"/>
            <a:chOff x="3640692" y="2181769"/>
            <a:chExt cx="1228929" cy="1382917"/>
          </a:xfrm>
        </p:grpSpPr>
        <p:grpSp>
          <p:nvGrpSpPr>
            <p:cNvPr id="484" name="Agrupar 155">
              <a:extLst>
                <a:ext uri="{FF2B5EF4-FFF2-40B4-BE49-F238E27FC236}">
                  <a16:creationId xmlns:a16="http://schemas.microsoft.com/office/drawing/2014/main" id="{B6391AD3-6A98-4987-8994-D9DEA030AB68}"/>
                </a:ext>
              </a:extLst>
            </p:cNvPr>
            <p:cNvGrpSpPr/>
            <p:nvPr/>
          </p:nvGrpSpPr>
          <p:grpSpPr>
            <a:xfrm>
              <a:off x="3797073" y="2654096"/>
              <a:ext cx="930095" cy="910590"/>
              <a:chOff x="103855" y="4198489"/>
              <a:chExt cx="930095" cy="910590"/>
            </a:xfrm>
          </p:grpSpPr>
          <p:pic>
            <p:nvPicPr>
              <p:cNvPr id="486" name="Picture 14">
                <a:extLst>
                  <a:ext uri="{FF2B5EF4-FFF2-40B4-BE49-F238E27FC236}">
                    <a16:creationId xmlns:a16="http://schemas.microsoft.com/office/drawing/2014/main" id="{2E9B7D16-29ED-41F5-AA9C-C36E9286842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103855" y="4257230"/>
                <a:ext cx="930095" cy="83114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87" name="object 30">
                <a:extLst>
                  <a:ext uri="{FF2B5EF4-FFF2-40B4-BE49-F238E27FC236}">
                    <a16:creationId xmlns:a16="http://schemas.microsoft.com/office/drawing/2014/main" id="{BB64F1B2-24A6-4E6B-B20D-B07557F428C7}"/>
                  </a:ext>
                </a:extLst>
              </p:cNvPr>
              <p:cNvSpPr/>
              <p:nvPr/>
            </p:nvSpPr>
            <p:spPr>
              <a:xfrm>
                <a:off x="108092" y="4198489"/>
                <a:ext cx="910590" cy="910590"/>
              </a:xfrm>
              <a:custGeom>
                <a:avLst/>
                <a:gdLst/>
                <a:ahLst/>
                <a:cxnLst/>
                <a:rect l="l" t="t" r="r" b="b"/>
                <a:pathLst>
                  <a:path w="910589" h="910589">
                    <a:moveTo>
                      <a:pt x="76200" y="0"/>
                    </a:moveTo>
                    <a:lnTo>
                      <a:pt x="32146" y="1190"/>
                    </a:lnTo>
                    <a:lnTo>
                      <a:pt x="9525" y="9525"/>
                    </a:lnTo>
                    <a:lnTo>
                      <a:pt x="1190" y="32146"/>
                    </a:lnTo>
                    <a:lnTo>
                      <a:pt x="0" y="76200"/>
                    </a:lnTo>
                    <a:lnTo>
                      <a:pt x="0" y="833818"/>
                    </a:lnTo>
                    <a:lnTo>
                      <a:pt x="1190" y="877871"/>
                    </a:lnTo>
                    <a:lnTo>
                      <a:pt x="9525" y="900493"/>
                    </a:lnTo>
                    <a:lnTo>
                      <a:pt x="32146" y="908827"/>
                    </a:lnTo>
                    <a:lnTo>
                      <a:pt x="76200" y="910018"/>
                    </a:lnTo>
                    <a:lnTo>
                      <a:pt x="833818" y="910018"/>
                    </a:lnTo>
                    <a:lnTo>
                      <a:pt x="877871" y="908827"/>
                    </a:lnTo>
                    <a:lnTo>
                      <a:pt x="900493" y="900493"/>
                    </a:lnTo>
                    <a:lnTo>
                      <a:pt x="908827" y="877871"/>
                    </a:lnTo>
                    <a:lnTo>
                      <a:pt x="910018" y="833818"/>
                    </a:lnTo>
                    <a:lnTo>
                      <a:pt x="910018" y="76200"/>
                    </a:lnTo>
                    <a:lnTo>
                      <a:pt x="908827" y="32146"/>
                    </a:lnTo>
                    <a:lnTo>
                      <a:pt x="900493" y="9525"/>
                    </a:lnTo>
                    <a:lnTo>
                      <a:pt x="877871" y="1190"/>
                    </a:lnTo>
                    <a:lnTo>
                      <a:pt x="833818" y="0"/>
                    </a:lnTo>
                    <a:lnTo>
                      <a:pt x="76200" y="0"/>
                    </a:lnTo>
                    <a:close/>
                  </a:path>
                </a:pathLst>
              </a:custGeom>
              <a:ln w="38100">
                <a:solidFill>
                  <a:srgbClr val="538C80"/>
                </a:solidFill>
              </a:ln>
            </p:spPr>
            <p:txBody>
              <a:bodyPr wrap="square" lIns="0" tIns="0" rIns="0" bIns="0" rtlCol="0"/>
              <a:lstStyle/>
              <a:p>
                <a:pPr algn="ctr"/>
                <a:endParaRPr lang="pt-BR" sz="1000" dirty="0"/>
              </a:p>
            </p:txBody>
          </p:sp>
        </p:grpSp>
        <p:sp>
          <p:nvSpPr>
            <p:cNvPr id="485" name="object 50">
              <a:extLst>
                <a:ext uri="{FF2B5EF4-FFF2-40B4-BE49-F238E27FC236}">
                  <a16:creationId xmlns:a16="http://schemas.microsoft.com/office/drawing/2014/main" id="{A4012AE3-7236-4CF0-9705-A5D81D840204}"/>
                </a:ext>
              </a:extLst>
            </p:cNvPr>
            <p:cNvSpPr txBox="1"/>
            <p:nvPr/>
          </p:nvSpPr>
          <p:spPr>
            <a:xfrm>
              <a:off x="3640692" y="2181769"/>
              <a:ext cx="1228929" cy="3548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81280" marR="5080" indent="-69215" algn="ctr"/>
              <a:r>
                <a:rPr lang="pt-BR" sz="900" dirty="0" err="1">
                  <a:latin typeface="Century Gothic"/>
                  <a:cs typeface="Century Gothic"/>
                </a:rPr>
                <a:t>Cooperatives</a:t>
              </a:r>
              <a:endParaRPr lang="pt-BR" sz="900" dirty="0">
                <a:latin typeface="Century Gothic"/>
                <a:cs typeface="Century Gothic"/>
              </a:endParaRPr>
            </a:p>
            <a:p>
              <a:pPr marL="81280" marR="5080" indent="-69215" algn="ctr"/>
              <a:r>
                <a:rPr lang="pt-BR" sz="900" dirty="0">
                  <a:latin typeface="Century Gothic"/>
                  <a:cs typeface="Century Gothic"/>
                </a:rPr>
                <a:t>and </a:t>
              </a:r>
              <a:r>
                <a:rPr lang="pt-BR" sz="900" dirty="0" err="1">
                  <a:latin typeface="Century Gothic"/>
                  <a:cs typeface="Century Gothic"/>
                </a:rPr>
                <a:t>warehouses</a:t>
              </a:r>
              <a:endParaRPr lang="pt-BR" sz="900" dirty="0">
                <a:latin typeface="Century Gothic"/>
                <a:cs typeface="Century Gothic"/>
              </a:endParaRPr>
            </a:p>
          </p:txBody>
        </p:sp>
      </p:grpSp>
      <p:sp>
        <p:nvSpPr>
          <p:cNvPr id="488" name="CaixaDeTexto 487">
            <a:extLst>
              <a:ext uri="{FF2B5EF4-FFF2-40B4-BE49-F238E27FC236}">
                <a16:creationId xmlns:a16="http://schemas.microsoft.com/office/drawing/2014/main" id="{494E591E-19EA-494E-BD36-B57E7C32F2A4}"/>
              </a:ext>
            </a:extLst>
          </p:cNvPr>
          <p:cNvSpPr txBox="1"/>
          <p:nvPr/>
        </p:nvSpPr>
        <p:spPr>
          <a:xfrm>
            <a:off x="7346946" y="771817"/>
            <a:ext cx="14337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800" dirty="0" err="1">
                <a:latin typeface="Century Gothic" panose="020B0502020202020204" pitchFamily="34" charset="0"/>
              </a:rPr>
              <a:t>Seeds</a:t>
            </a:r>
            <a:endParaRPr lang="pt-BR" sz="1800" dirty="0">
              <a:latin typeface="Century Gothic" panose="020B0502020202020204" pitchFamily="34" charset="0"/>
            </a:endParaRPr>
          </a:p>
        </p:txBody>
      </p:sp>
      <p:sp>
        <p:nvSpPr>
          <p:cNvPr id="489" name="CaixaDeTexto 488">
            <a:extLst>
              <a:ext uri="{FF2B5EF4-FFF2-40B4-BE49-F238E27FC236}">
                <a16:creationId xmlns:a16="http://schemas.microsoft.com/office/drawing/2014/main" id="{C8B805EA-6A30-49F5-986C-4B58E8F374E2}"/>
              </a:ext>
            </a:extLst>
          </p:cNvPr>
          <p:cNvSpPr txBox="1"/>
          <p:nvPr/>
        </p:nvSpPr>
        <p:spPr>
          <a:xfrm>
            <a:off x="7564761" y="2042709"/>
            <a:ext cx="998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800" dirty="0" err="1">
                <a:latin typeface="Century Gothic" panose="020B0502020202020204" pitchFamily="34" charset="0"/>
              </a:rPr>
              <a:t>Grains</a:t>
            </a:r>
            <a:endParaRPr lang="pt-BR" sz="1800" dirty="0">
              <a:latin typeface="Century Gothic" panose="020B0502020202020204" pitchFamily="34" charset="0"/>
            </a:endParaRPr>
          </a:p>
        </p:txBody>
      </p:sp>
      <p:grpSp>
        <p:nvGrpSpPr>
          <p:cNvPr id="490" name="Agrupar 176">
            <a:extLst>
              <a:ext uri="{FF2B5EF4-FFF2-40B4-BE49-F238E27FC236}">
                <a16:creationId xmlns:a16="http://schemas.microsoft.com/office/drawing/2014/main" id="{31F63F8E-2B9A-4444-94F0-B57AA269D88F}"/>
              </a:ext>
            </a:extLst>
          </p:cNvPr>
          <p:cNvGrpSpPr/>
          <p:nvPr/>
        </p:nvGrpSpPr>
        <p:grpSpPr>
          <a:xfrm>
            <a:off x="4978743" y="1528898"/>
            <a:ext cx="952997" cy="1074828"/>
            <a:chOff x="2356896" y="2172092"/>
            <a:chExt cx="1228929" cy="1386036"/>
          </a:xfrm>
        </p:grpSpPr>
        <p:grpSp>
          <p:nvGrpSpPr>
            <p:cNvPr id="491" name="Agrupar 177">
              <a:extLst>
                <a:ext uri="{FF2B5EF4-FFF2-40B4-BE49-F238E27FC236}">
                  <a16:creationId xmlns:a16="http://schemas.microsoft.com/office/drawing/2014/main" id="{9FFB35E5-42A8-40B6-9659-E507CDA81FBD}"/>
                </a:ext>
              </a:extLst>
            </p:cNvPr>
            <p:cNvGrpSpPr/>
            <p:nvPr/>
          </p:nvGrpSpPr>
          <p:grpSpPr>
            <a:xfrm>
              <a:off x="2516065" y="2647538"/>
              <a:ext cx="910590" cy="910590"/>
              <a:chOff x="2349788" y="2654096"/>
              <a:chExt cx="910590" cy="910590"/>
            </a:xfrm>
          </p:grpSpPr>
          <p:pic>
            <p:nvPicPr>
              <p:cNvPr id="493" name="Picture 6">
                <a:extLst>
                  <a:ext uri="{FF2B5EF4-FFF2-40B4-BE49-F238E27FC236}">
                    <a16:creationId xmlns:a16="http://schemas.microsoft.com/office/drawing/2014/main" id="{6B4F7308-7944-40DA-B2FE-4CDB42DB0A3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2354505" y="2669442"/>
                <a:ext cx="899824" cy="885073"/>
              </a:xfrm>
              <a:prstGeom prst="rect">
                <a:avLst/>
              </a:prstGeom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94" name="object 26">
                <a:extLst>
                  <a:ext uri="{FF2B5EF4-FFF2-40B4-BE49-F238E27FC236}">
                    <a16:creationId xmlns:a16="http://schemas.microsoft.com/office/drawing/2014/main" id="{192639AE-8F2E-4223-8396-32E99F802CF3}"/>
                  </a:ext>
                </a:extLst>
              </p:cNvPr>
              <p:cNvSpPr/>
              <p:nvPr/>
            </p:nvSpPr>
            <p:spPr>
              <a:xfrm>
                <a:off x="2349788" y="2654096"/>
                <a:ext cx="910590" cy="910590"/>
              </a:xfrm>
              <a:custGeom>
                <a:avLst/>
                <a:gdLst/>
                <a:ahLst/>
                <a:cxnLst/>
                <a:rect l="l" t="t" r="r" b="b"/>
                <a:pathLst>
                  <a:path w="910589" h="910589">
                    <a:moveTo>
                      <a:pt x="76200" y="0"/>
                    </a:moveTo>
                    <a:lnTo>
                      <a:pt x="32146" y="1190"/>
                    </a:lnTo>
                    <a:lnTo>
                      <a:pt x="9525" y="9525"/>
                    </a:lnTo>
                    <a:lnTo>
                      <a:pt x="1190" y="32146"/>
                    </a:lnTo>
                    <a:lnTo>
                      <a:pt x="0" y="76200"/>
                    </a:lnTo>
                    <a:lnTo>
                      <a:pt x="0" y="833818"/>
                    </a:lnTo>
                    <a:lnTo>
                      <a:pt x="1190" y="877871"/>
                    </a:lnTo>
                    <a:lnTo>
                      <a:pt x="9525" y="900493"/>
                    </a:lnTo>
                    <a:lnTo>
                      <a:pt x="32146" y="908827"/>
                    </a:lnTo>
                    <a:lnTo>
                      <a:pt x="76200" y="910018"/>
                    </a:lnTo>
                    <a:lnTo>
                      <a:pt x="833818" y="910018"/>
                    </a:lnTo>
                    <a:lnTo>
                      <a:pt x="877871" y="908827"/>
                    </a:lnTo>
                    <a:lnTo>
                      <a:pt x="900493" y="900493"/>
                    </a:lnTo>
                    <a:lnTo>
                      <a:pt x="908827" y="877871"/>
                    </a:lnTo>
                    <a:lnTo>
                      <a:pt x="910018" y="833818"/>
                    </a:lnTo>
                    <a:lnTo>
                      <a:pt x="910018" y="76200"/>
                    </a:lnTo>
                    <a:lnTo>
                      <a:pt x="908827" y="32146"/>
                    </a:lnTo>
                    <a:lnTo>
                      <a:pt x="900493" y="9525"/>
                    </a:lnTo>
                    <a:lnTo>
                      <a:pt x="877871" y="1190"/>
                    </a:lnTo>
                    <a:lnTo>
                      <a:pt x="833818" y="0"/>
                    </a:lnTo>
                    <a:lnTo>
                      <a:pt x="76200" y="0"/>
                    </a:lnTo>
                    <a:close/>
                  </a:path>
                </a:pathLst>
              </a:custGeom>
              <a:ln w="38100">
                <a:solidFill>
                  <a:srgbClr val="54C09E"/>
                </a:solidFill>
              </a:ln>
            </p:spPr>
            <p:txBody>
              <a:bodyPr wrap="square" lIns="0" tIns="0" rIns="0" bIns="0" rtlCol="0"/>
              <a:lstStyle/>
              <a:p>
                <a:endParaRPr lang="pt-BR" sz="1000" dirty="0"/>
              </a:p>
            </p:txBody>
          </p:sp>
        </p:grpSp>
        <p:sp>
          <p:nvSpPr>
            <p:cNvPr id="492" name="object 47">
              <a:extLst>
                <a:ext uri="{FF2B5EF4-FFF2-40B4-BE49-F238E27FC236}">
                  <a16:creationId xmlns:a16="http://schemas.microsoft.com/office/drawing/2014/main" id="{89996039-728B-47C5-BA40-7A23BE92436C}"/>
                </a:ext>
              </a:extLst>
            </p:cNvPr>
            <p:cNvSpPr txBox="1"/>
            <p:nvPr/>
          </p:nvSpPr>
          <p:spPr>
            <a:xfrm>
              <a:off x="2356896" y="2172092"/>
              <a:ext cx="1228929" cy="35720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algn="ctr"/>
              <a:r>
                <a:rPr lang="pt-BR" sz="900" dirty="0" err="1">
                  <a:latin typeface="Century Gothic"/>
                  <a:cs typeface="Century Gothic"/>
                </a:rPr>
                <a:t>Processing</a:t>
              </a:r>
              <a:r>
                <a:rPr lang="pt-BR" sz="900" dirty="0">
                  <a:latin typeface="Century Gothic"/>
                  <a:cs typeface="Century Gothic"/>
                </a:rPr>
                <a:t> </a:t>
              </a:r>
              <a:r>
                <a:rPr lang="pt-BR" sz="900" dirty="0" err="1">
                  <a:latin typeface="Century Gothic"/>
                  <a:cs typeface="Century Gothic"/>
                </a:rPr>
                <a:t>industry</a:t>
              </a:r>
              <a:endParaRPr lang="pt-BR" sz="900" dirty="0">
                <a:latin typeface="Century Gothic"/>
                <a:cs typeface="Century Gothic"/>
              </a:endParaRPr>
            </a:p>
          </p:txBody>
        </p:sp>
      </p:grpSp>
      <p:grpSp>
        <p:nvGrpSpPr>
          <p:cNvPr id="495" name="Agrupar 182">
            <a:extLst>
              <a:ext uri="{FF2B5EF4-FFF2-40B4-BE49-F238E27FC236}">
                <a16:creationId xmlns:a16="http://schemas.microsoft.com/office/drawing/2014/main" id="{3B1B4CAF-334D-4162-AF79-B179B0D17609}"/>
              </a:ext>
            </a:extLst>
          </p:cNvPr>
          <p:cNvGrpSpPr/>
          <p:nvPr/>
        </p:nvGrpSpPr>
        <p:grpSpPr>
          <a:xfrm>
            <a:off x="6060070" y="1527605"/>
            <a:ext cx="952997" cy="1076121"/>
            <a:chOff x="3640692" y="2176983"/>
            <a:chExt cx="1228929" cy="1387703"/>
          </a:xfrm>
        </p:grpSpPr>
        <p:grpSp>
          <p:nvGrpSpPr>
            <p:cNvPr id="496" name="Agrupar 183">
              <a:extLst>
                <a:ext uri="{FF2B5EF4-FFF2-40B4-BE49-F238E27FC236}">
                  <a16:creationId xmlns:a16="http://schemas.microsoft.com/office/drawing/2014/main" id="{2B5BB5A6-45E8-4B33-9D73-AFC6E6C6D6EC}"/>
                </a:ext>
              </a:extLst>
            </p:cNvPr>
            <p:cNvGrpSpPr/>
            <p:nvPr/>
          </p:nvGrpSpPr>
          <p:grpSpPr>
            <a:xfrm>
              <a:off x="3797073" y="2654096"/>
              <a:ext cx="930095" cy="910590"/>
              <a:chOff x="103855" y="4198489"/>
              <a:chExt cx="930095" cy="910590"/>
            </a:xfrm>
          </p:grpSpPr>
          <p:pic>
            <p:nvPicPr>
              <p:cNvPr id="498" name="Picture 14">
                <a:extLst>
                  <a:ext uri="{FF2B5EF4-FFF2-40B4-BE49-F238E27FC236}">
                    <a16:creationId xmlns:a16="http://schemas.microsoft.com/office/drawing/2014/main" id="{21287CE6-B3B0-479B-B1FC-A3B191B8B86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103855" y="4261063"/>
                <a:ext cx="930095" cy="83114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99" name="object 30">
                <a:extLst>
                  <a:ext uri="{FF2B5EF4-FFF2-40B4-BE49-F238E27FC236}">
                    <a16:creationId xmlns:a16="http://schemas.microsoft.com/office/drawing/2014/main" id="{1989A8F2-0272-443C-B3C2-D18B513BCB63}"/>
                  </a:ext>
                </a:extLst>
              </p:cNvPr>
              <p:cNvSpPr/>
              <p:nvPr/>
            </p:nvSpPr>
            <p:spPr>
              <a:xfrm>
                <a:off x="108092" y="4198489"/>
                <a:ext cx="910590" cy="910590"/>
              </a:xfrm>
              <a:custGeom>
                <a:avLst/>
                <a:gdLst/>
                <a:ahLst/>
                <a:cxnLst/>
                <a:rect l="l" t="t" r="r" b="b"/>
                <a:pathLst>
                  <a:path w="910589" h="910589">
                    <a:moveTo>
                      <a:pt x="76200" y="0"/>
                    </a:moveTo>
                    <a:lnTo>
                      <a:pt x="32146" y="1190"/>
                    </a:lnTo>
                    <a:lnTo>
                      <a:pt x="9525" y="9525"/>
                    </a:lnTo>
                    <a:lnTo>
                      <a:pt x="1190" y="32146"/>
                    </a:lnTo>
                    <a:lnTo>
                      <a:pt x="0" y="76200"/>
                    </a:lnTo>
                    <a:lnTo>
                      <a:pt x="0" y="833818"/>
                    </a:lnTo>
                    <a:lnTo>
                      <a:pt x="1190" y="877871"/>
                    </a:lnTo>
                    <a:lnTo>
                      <a:pt x="9525" y="900493"/>
                    </a:lnTo>
                    <a:lnTo>
                      <a:pt x="32146" y="908827"/>
                    </a:lnTo>
                    <a:lnTo>
                      <a:pt x="76200" y="910018"/>
                    </a:lnTo>
                    <a:lnTo>
                      <a:pt x="833818" y="910018"/>
                    </a:lnTo>
                    <a:lnTo>
                      <a:pt x="877871" y="908827"/>
                    </a:lnTo>
                    <a:lnTo>
                      <a:pt x="900493" y="900493"/>
                    </a:lnTo>
                    <a:lnTo>
                      <a:pt x="908827" y="877871"/>
                    </a:lnTo>
                    <a:lnTo>
                      <a:pt x="910018" y="833818"/>
                    </a:lnTo>
                    <a:lnTo>
                      <a:pt x="910018" y="76200"/>
                    </a:lnTo>
                    <a:lnTo>
                      <a:pt x="908827" y="32146"/>
                    </a:lnTo>
                    <a:lnTo>
                      <a:pt x="900493" y="9525"/>
                    </a:lnTo>
                    <a:lnTo>
                      <a:pt x="877871" y="1190"/>
                    </a:lnTo>
                    <a:lnTo>
                      <a:pt x="833818" y="0"/>
                    </a:lnTo>
                    <a:lnTo>
                      <a:pt x="76200" y="0"/>
                    </a:lnTo>
                    <a:close/>
                  </a:path>
                </a:pathLst>
              </a:custGeom>
              <a:ln w="38100">
                <a:solidFill>
                  <a:srgbClr val="538C80"/>
                </a:solidFill>
              </a:ln>
            </p:spPr>
            <p:txBody>
              <a:bodyPr wrap="square" lIns="0" tIns="0" rIns="0" bIns="0" rtlCol="0"/>
              <a:lstStyle/>
              <a:p>
                <a:endParaRPr lang="pt-BR" sz="1000" dirty="0"/>
              </a:p>
            </p:txBody>
          </p:sp>
        </p:grpSp>
        <p:sp>
          <p:nvSpPr>
            <p:cNvPr id="497" name="object 50">
              <a:extLst>
                <a:ext uri="{FF2B5EF4-FFF2-40B4-BE49-F238E27FC236}">
                  <a16:creationId xmlns:a16="http://schemas.microsoft.com/office/drawing/2014/main" id="{782F31BF-6027-4B91-9048-39FD0A9885E1}"/>
                </a:ext>
              </a:extLst>
            </p:cNvPr>
            <p:cNvSpPr txBox="1"/>
            <p:nvPr/>
          </p:nvSpPr>
          <p:spPr>
            <a:xfrm>
              <a:off x="3640692" y="2176983"/>
              <a:ext cx="1228929" cy="35720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81280" marR="5080" indent="-69215" algn="ctr"/>
              <a:r>
                <a:rPr lang="pt-BR" sz="900" dirty="0" err="1">
                  <a:latin typeface="Century Gothic"/>
                  <a:cs typeface="Century Gothic"/>
                </a:rPr>
                <a:t>Cooperatives</a:t>
              </a:r>
              <a:endParaRPr lang="pt-BR" sz="900" dirty="0">
                <a:latin typeface="Century Gothic"/>
                <a:cs typeface="Century Gothic"/>
              </a:endParaRPr>
            </a:p>
            <a:p>
              <a:pPr marL="81280" marR="5080" indent="-69215" algn="ctr"/>
              <a:r>
                <a:rPr lang="pt-BR" sz="900" dirty="0">
                  <a:latin typeface="Century Gothic"/>
                  <a:cs typeface="Century Gothic"/>
                </a:rPr>
                <a:t>and </a:t>
              </a:r>
              <a:r>
                <a:rPr lang="pt-BR" sz="900" dirty="0" err="1">
                  <a:latin typeface="Century Gothic"/>
                  <a:cs typeface="Century Gothic"/>
                </a:rPr>
                <a:t>warehouses</a:t>
              </a:r>
              <a:endParaRPr lang="pt-BR" sz="900" dirty="0">
                <a:latin typeface="Century Gothic"/>
                <a:cs typeface="Century Gothic"/>
              </a:endParaRPr>
            </a:p>
          </p:txBody>
        </p:sp>
      </p:grpSp>
      <p:sp>
        <p:nvSpPr>
          <p:cNvPr id="500" name="CaixaDeTexto 499">
            <a:extLst>
              <a:ext uri="{FF2B5EF4-FFF2-40B4-BE49-F238E27FC236}">
                <a16:creationId xmlns:a16="http://schemas.microsoft.com/office/drawing/2014/main" id="{494E591E-19EA-494E-BD36-B57E7C32F2A4}"/>
              </a:ext>
            </a:extLst>
          </p:cNvPr>
          <p:cNvSpPr txBox="1"/>
          <p:nvPr/>
        </p:nvSpPr>
        <p:spPr>
          <a:xfrm>
            <a:off x="7455892" y="3293467"/>
            <a:ext cx="12158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800" dirty="0">
                <a:latin typeface="Century Gothic" panose="020B0502020202020204" pitchFamily="34" charset="0"/>
              </a:rPr>
              <a:t>Feed</a:t>
            </a:r>
          </a:p>
        </p:txBody>
      </p:sp>
      <p:grpSp>
        <p:nvGrpSpPr>
          <p:cNvPr id="501" name="Agrupar 30">
            <a:extLst>
              <a:ext uri="{FF2B5EF4-FFF2-40B4-BE49-F238E27FC236}">
                <a16:creationId xmlns:a16="http://schemas.microsoft.com/office/drawing/2014/main" id="{6807DE93-06F9-4264-81E9-4CEE50FC47A2}"/>
              </a:ext>
            </a:extLst>
          </p:cNvPr>
          <p:cNvGrpSpPr/>
          <p:nvPr/>
        </p:nvGrpSpPr>
        <p:grpSpPr>
          <a:xfrm>
            <a:off x="3908765" y="2827001"/>
            <a:ext cx="890111" cy="972486"/>
            <a:chOff x="346443" y="3998624"/>
            <a:chExt cx="1140434" cy="1311512"/>
          </a:xfrm>
        </p:grpSpPr>
        <p:grpSp>
          <p:nvGrpSpPr>
            <p:cNvPr id="502" name="Agrupar 24">
              <a:extLst>
                <a:ext uri="{FF2B5EF4-FFF2-40B4-BE49-F238E27FC236}">
                  <a16:creationId xmlns:a16="http://schemas.microsoft.com/office/drawing/2014/main" id="{1A51C071-FDF0-486C-9367-53E8BE60577B}"/>
                </a:ext>
              </a:extLst>
            </p:cNvPr>
            <p:cNvGrpSpPr/>
            <p:nvPr/>
          </p:nvGrpSpPr>
          <p:grpSpPr>
            <a:xfrm>
              <a:off x="447205" y="4399546"/>
              <a:ext cx="910590" cy="910590"/>
              <a:chOff x="431004" y="4475190"/>
              <a:chExt cx="910590" cy="910590"/>
            </a:xfrm>
          </p:grpSpPr>
          <p:pic>
            <p:nvPicPr>
              <p:cNvPr id="504" name="Picture 12">
                <a:extLst>
                  <a:ext uri="{FF2B5EF4-FFF2-40B4-BE49-F238E27FC236}">
                    <a16:creationId xmlns:a16="http://schemas.microsoft.com/office/drawing/2014/main" id="{C42207EB-526B-455B-BE42-679B28FC617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442613" y="4489021"/>
                <a:ext cx="886081" cy="88387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05" name="object 32">
                <a:extLst>
                  <a:ext uri="{FF2B5EF4-FFF2-40B4-BE49-F238E27FC236}">
                    <a16:creationId xmlns:a16="http://schemas.microsoft.com/office/drawing/2014/main" id="{D7DC00AC-4DDF-4090-9616-07AB03958084}"/>
                  </a:ext>
                </a:extLst>
              </p:cNvPr>
              <p:cNvSpPr/>
              <p:nvPr/>
            </p:nvSpPr>
            <p:spPr>
              <a:xfrm>
                <a:off x="431004" y="4475190"/>
                <a:ext cx="910590" cy="910590"/>
              </a:xfrm>
              <a:custGeom>
                <a:avLst/>
                <a:gdLst/>
                <a:ahLst/>
                <a:cxnLst/>
                <a:rect l="l" t="t" r="r" b="b"/>
                <a:pathLst>
                  <a:path w="910590" h="910589">
                    <a:moveTo>
                      <a:pt x="76200" y="0"/>
                    </a:moveTo>
                    <a:lnTo>
                      <a:pt x="32146" y="1190"/>
                    </a:lnTo>
                    <a:lnTo>
                      <a:pt x="9525" y="9525"/>
                    </a:lnTo>
                    <a:lnTo>
                      <a:pt x="1190" y="32146"/>
                    </a:lnTo>
                    <a:lnTo>
                      <a:pt x="0" y="76200"/>
                    </a:lnTo>
                    <a:lnTo>
                      <a:pt x="0" y="833818"/>
                    </a:lnTo>
                    <a:lnTo>
                      <a:pt x="1190" y="877871"/>
                    </a:lnTo>
                    <a:lnTo>
                      <a:pt x="9525" y="900493"/>
                    </a:lnTo>
                    <a:lnTo>
                      <a:pt x="32146" y="908827"/>
                    </a:lnTo>
                    <a:lnTo>
                      <a:pt x="76200" y="910018"/>
                    </a:lnTo>
                    <a:lnTo>
                      <a:pt x="833818" y="910018"/>
                    </a:lnTo>
                    <a:lnTo>
                      <a:pt x="877871" y="908827"/>
                    </a:lnTo>
                    <a:lnTo>
                      <a:pt x="900493" y="900493"/>
                    </a:lnTo>
                    <a:lnTo>
                      <a:pt x="908827" y="877871"/>
                    </a:lnTo>
                    <a:lnTo>
                      <a:pt x="910018" y="833818"/>
                    </a:lnTo>
                    <a:lnTo>
                      <a:pt x="910018" y="76200"/>
                    </a:lnTo>
                    <a:lnTo>
                      <a:pt x="908827" y="32146"/>
                    </a:lnTo>
                    <a:lnTo>
                      <a:pt x="900493" y="9525"/>
                    </a:lnTo>
                    <a:lnTo>
                      <a:pt x="877871" y="1190"/>
                    </a:lnTo>
                    <a:lnTo>
                      <a:pt x="833818" y="0"/>
                    </a:lnTo>
                    <a:lnTo>
                      <a:pt x="76200" y="0"/>
                    </a:lnTo>
                    <a:close/>
                  </a:path>
                </a:pathLst>
              </a:custGeom>
              <a:ln w="38100">
                <a:solidFill>
                  <a:srgbClr val="538C80"/>
                </a:solidFill>
              </a:ln>
            </p:spPr>
            <p:txBody>
              <a:bodyPr wrap="square" lIns="0" tIns="0" rIns="0" bIns="0" rtlCol="0"/>
              <a:lstStyle/>
              <a:p>
                <a:r>
                  <a:rPr lang="pt-BR" sz="1000" dirty="0"/>
                  <a:t> </a:t>
                </a:r>
              </a:p>
            </p:txBody>
          </p:sp>
        </p:grpSp>
        <p:sp>
          <p:nvSpPr>
            <p:cNvPr id="503" name="object 39">
              <a:extLst>
                <a:ext uri="{FF2B5EF4-FFF2-40B4-BE49-F238E27FC236}">
                  <a16:creationId xmlns:a16="http://schemas.microsoft.com/office/drawing/2014/main" id="{C3CE4451-C2E4-44AB-822A-AA923B1A7DF8}"/>
                </a:ext>
              </a:extLst>
            </p:cNvPr>
            <p:cNvSpPr txBox="1"/>
            <p:nvPr/>
          </p:nvSpPr>
          <p:spPr>
            <a:xfrm>
              <a:off x="346443" y="3998624"/>
              <a:ext cx="1140434" cy="37356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algn="ctr"/>
              <a:r>
                <a:rPr lang="pt-BR" sz="900" dirty="0">
                  <a:latin typeface="Century Gothic"/>
                  <a:cs typeface="Century Gothic"/>
                </a:rPr>
                <a:t>PET feed industries</a:t>
              </a:r>
            </a:p>
          </p:txBody>
        </p:sp>
      </p:grpSp>
      <p:grpSp>
        <p:nvGrpSpPr>
          <p:cNvPr id="506" name="Agrupar 193">
            <a:extLst>
              <a:ext uri="{FF2B5EF4-FFF2-40B4-BE49-F238E27FC236}">
                <a16:creationId xmlns:a16="http://schemas.microsoft.com/office/drawing/2014/main" id="{06F6A8ED-2A56-4EC0-A7BB-3057A42A833E}"/>
              </a:ext>
            </a:extLst>
          </p:cNvPr>
          <p:cNvGrpSpPr/>
          <p:nvPr/>
        </p:nvGrpSpPr>
        <p:grpSpPr>
          <a:xfrm>
            <a:off x="4754875" y="2801513"/>
            <a:ext cx="1399694" cy="1033250"/>
            <a:chOff x="346441" y="3998624"/>
            <a:chExt cx="1778696" cy="1311512"/>
          </a:xfrm>
        </p:grpSpPr>
        <p:grpSp>
          <p:nvGrpSpPr>
            <p:cNvPr id="507" name="Agrupar 194">
              <a:extLst>
                <a:ext uri="{FF2B5EF4-FFF2-40B4-BE49-F238E27FC236}">
                  <a16:creationId xmlns:a16="http://schemas.microsoft.com/office/drawing/2014/main" id="{988E8794-36F2-43C0-98F1-329AF507F256}"/>
                </a:ext>
              </a:extLst>
            </p:cNvPr>
            <p:cNvGrpSpPr/>
            <p:nvPr/>
          </p:nvGrpSpPr>
          <p:grpSpPr>
            <a:xfrm>
              <a:off x="780495" y="4399546"/>
              <a:ext cx="910591" cy="910590"/>
              <a:chOff x="764294" y="4475190"/>
              <a:chExt cx="910591" cy="910590"/>
            </a:xfrm>
          </p:grpSpPr>
          <p:pic>
            <p:nvPicPr>
              <p:cNvPr id="509" name="Picture 12">
                <a:extLst>
                  <a:ext uri="{FF2B5EF4-FFF2-40B4-BE49-F238E27FC236}">
                    <a16:creationId xmlns:a16="http://schemas.microsoft.com/office/drawing/2014/main" id="{6950D70D-D198-44E0-92AF-76E9F371996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764294" y="4491171"/>
                <a:ext cx="910589" cy="88387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10" name="object 32">
                <a:extLst>
                  <a:ext uri="{FF2B5EF4-FFF2-40B4-BE49-F238E27FC236}">
                    <a16:creationId xmlns:a16="http://schemas.microsoft.com/office/drawing/2014/main" id="{D0A07A1A-EA71-4A82-91B9-C797CFB587E4}"/>
                  </a:ext>
                </a:extLst>
              </p:cNvPr>
              <p:cNvSpPr/>
              <p:nvPr/>
            </p:nvSpPr>
            <p:spPr>
              <a:xfrm>
                <a:off x="764295" y="4475190"/>
                <a:ext cx="910590" cy="910590"/>
              </a:xfrm>
              <a:custGeom>
                <a:avLst/>
                <a:gdLst/>
                <a:ahLst/>
                <a:cxnLst/>
                <a:rect l="l" t="t" r="r" b="b"/>
                <a:pathLst>
                  <a:path w="910590" h="910589">
                    <a:moveTo>
                      <a:pt x="76200" y="0"/>
                    </a:moveTo>
                    <a:lnTo>
                      <a:pt x="32146" y="1190"/>
                    </a:lnTo>
                    <a:lnTo>
                      <a:pt x="9525" y="9525"/>
                    </a:lnTo>
                    <a:lnTo>
                      <a:pt x="1190" y="32146"/>
                    </a:lnTo>
                    <a:lnTo>
                      <a:pt x="0" y="76200"/>
                    </a:lnTo>
                    <a:lnTo>
                      <a:pt x="0" y="833818"/>
                    </a:lnTo>
                    <a:lnTo>
                      <a:pt x="1190" y="877871"/>
                    </a:lnTo>
                    <a:lnTo>
                      <a:pt x="9525" y="900493"/>
                    </a:lnTo>
                    <a:lnTo>
                      <a:pt x="32146" y="908827"/>
                    </a:lnTo>
                    <a:lnTo>
                      <a:pt x="76200" y="910018"/>
                    </a:lnTo>
                    <a:lnTo>
                      <a:pt x="833818" y="910018"/>
                    </a:lnTo>
                    <a:lnTo>
                      <a:pt x="877871" y="908827"/>
                    </a:lnTo>
                    <a:lnTo>
                      <a:pt x="900493" y="900493"/>
                    </a:lnTo>
                    <a:lnTo>
                      <a:pt x="908827" y="877871"/>
                    </a:lnTo>
                    <a:lnTo>
                      <a:pt x="910018" y="833818"/>
                    </a:lnTo>
                    <a:lnTo>
                      <a:pt x="910018" y="76200"/>
                    </a:lnTo>
                    <a:lnTo>
                      <a:pt x="908827" y="32146"/>
                    </a:lnTo>
                    <a:lnTo>
                      <a:pt x="900493" y="9525"/>
                    </a:lnTo>
                    <a:lnTo>
                      <a:pt x="877871" y="1190"/>
                    </a:lnTo>
                    <a:lnTo>
                      <a:pt x="833818" y="0"/>
                    </a:lnTo>
                    <a:lnTo>
                      <a:pt x="76200" y="0"/>
                    </a:lnTo>
                    <a:close/>
                  </a:path>
                </a:pathLst>
              </a:custGeom>
              <a:ln w="38100">
                <a:solidFill>
                  <a:srgbClr val="538C80"/>
                </a:solidFill>
              </a:ln>
            </p:spPr>
            <p:txBody>
              <a:bodyPr wrap="square" lIns="0" tIns="0" rIns="0" bIns="0" rtlCol="0"/>
              <a:lstStyle/>
              <a:p>
                <a:r>
                  <a:rPr lang="pt-BR" sz="1000" dirty="0"/>
                  <a:t> </a:t>
                </a:r>
              </a:p>
            </p:txBody>
          </p:sp>
        </p:grpSp>
        <p:sp>
          <p:nvSpPr>
            <p:cNvPr id="508" name="object 39">
              <a:extLst>
                <a:ext uri="{FF2B5EF4-FFF2-40B4-BE49-F238E27FC236}">
                  <a16:creationId xmlns:a16="http://schemas.microsoft.com/office/drawing/2014/main" id="{D0E75FFB-164A-4F4C-9AD0-2C781663845B}"/>
                </a:ext>
              </a:extLst>
            </p:cNvPr>
            <p:cNvSpPr txBox="1"/>
            <p:nvPr/>
          </p:nvSpPr>
          <p:spPr>
            <a:xfrm>
              <a:off x="346441" y="3998624"/>
              <a:ext cx="1778696" cy="35159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algn="ctr"/>
              <a:r>
                <a:rPr lang="pt-BR" sz="900" dirty="0">
                  <a:latin typeface="Century Gothic"/>
                  <a:cs typeface="Century Gothic"/>
                </a:rPr>
                <a:t>Big </a:t>
              </a:r>
              <a:r>
                <a:rPr lang="pt-BR" sz="900" dirty="0" err="1">
                  <a:latin typeface="Century Gothic"/>
                  <a:cs typeface="Century Gothic"/>
                </a:rPr>
                <a:t>animals</a:t>
              </a:r>
              <a:r>
                <a:rPr lang="pt-BR" sz="900" dirty="0">
                  <a:latin typeface="Century Gothic"/>
                  <a:cs typeface="Century Gothic"/>
                </a:rPr>
                <a:t> feed industries</a:t>
              </a:r>
            </a:p>
          </p:txBody>
        </p:sp>
      </p:grpSp>
      <p:sp>
        <p:nvSpPr>
          <p:cNvPr id="511" name="CaixaDeTexto 510">
            <a:extLst>
              <a:ext uri="{FF2B5EF4-FFF2-40B4-BE49-F238E27FC236}">
                <a16:creationId xmlns:a16="http://schemas.microsoft.com/office/drawing/2014/main" id="{C8B805EA-6A30-49F5-986C-4B58E8F374E2}"/>
              </a:ext>
            </a:extLst>
          </p:cNvPr>
          <p:cNvSpPr txBox="1"/>
          <p:nvPr/>
        </p:nvSpPr>
        <p:spPr>
          <a:xfrm>
            <a:off x="7144686" y="4425715"/>
            <a:ext cx="17630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800" dirty="0" err="1">
                <a:latin typeface="Century Gothic" panose="020B0502020202020204" pitchFamily="34" charset="0"/>
              </a:rPr>
              <a:t>Fertilizers</a:t>
            </a:r>
            <a:endParaRPr lang="pt-BR" sz="1800" dirty="0">
              <a:latin typeface="Century Gothic" panose="020B0502020202020204" pitchFamily="34" charset="0"/>
            </a:endParaRPr>
          </a:p>
        </p:txBody>
      </p:sp>
      <p:grpSp>
        <p:nvGrpSpPr>
          <p:cNvPr id="512" name="Agrupar 28">
            <a:extLst>
              <a:ext uri="{FF2B5EF4-FFF2-40B4-BE49-F238E27FC236}">
                <a16:creationId xmlns:a16="http://schemas.microsoft.com/office/drawing/2014/main" id="{8643C9F4-1C50-4968-AED0-249AF31C18CF}"/>
              </a:ext>
            </a:extLst>
          </p:cNvPr>
          <p:cNvGrpSpPr/>
          <p:nvPr/>
        </p:nvGrpSpPr>
        <p:grpSpPr>
          <a:xfrm>
            <a:off x="3904527" y="3992987"/>
            <a:ext cx="875476" cy="1002488"/>
            <a:chOff x="329920" y="5463253"/>
            <a:chExt cx="1140434" cy="1305885"/>
          </a:xfrm>
        </p:grpSpPr>
        <p:grpSp>
          <p:nvGrpSpPr>
            <p:cNvPr id="513" name="Agrupar 26">
              <a:extLst>
                <a:ext uri="{FF2B5EF4-FFF2-40B4-BE49-F238E27FC236}">
                  <a16:creationId xmlns:a16="http://schemas.microsoft.com/office/drawing/2014/main" id="{065F5ADC-FAE4-4688-86F2-B440D643303A}"/>
                </a:ext>
              </a:extLst>
            </p:cNvPr>
            <p:cNvGrpSpPr/>
            <p:nvPr/>
          </p:nvGrpSpPr>
          <p:grpSpPr>
            <a:xfrm>
              <a:off x="444191" y="5858548"/>
              <a:ext cx="911893" cy="910590"/>
              <a:chOff x="408343" y="5774728"/>
              <a:chExt cx="911893" cy="910590"/>
            </a:xfrm>
          </p:grpSpPr>
          <p:pic>
            <p:nvPicPr>
              <p:cNvPr id="515" name="Picture 12">
                <a:extLst>
                  <a:ext uri="{FF2B5EF4-FFF2-40B4-BE49-F238E27FC236}">
                    <a16:creationId xmlns:a16="http://schemas.microsoft.com/office/drawing/2014/main" id="{CD972702-B207-42EE-90D7-C2EACAAECA5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408343" y="5779517"/>
                <a:ext cx="897747" cy="90514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16" name="object 32">
                <a:extLst>
                  <a:ext uri="{FF2B5EF4-FFF2-40B4-BE49-F238E27FC236}">
                    <a16:creationId xmlns:a16="http://schemas.microsoft.com/office/drawing/2014/main" id="{2A3BCCEA-F0FA-4F10-92EA-2481BE7DEB39}"/>
                  </a:ext>
                </a:extLst>
              </p:cNvPr>
              <p:cNvSpPr/>
              <p:nvPr/>
            </p:nvSpPr>
            <p:spPr>
              <a:xfrm>
                <a:off x="409646" y="5774728"/>
                <a:ext cx="910590" cy="910590"/>
              </a:xfrm>
              <a:custGeom>
                <a:avLst/>
                <a:gdLst/>
                <a:ahLst/>
                <a:cxnLst/>
                <a:rect l="l" t="t" r="r" b="b"/>
                <a:pathLst>
                  <a:path w="910590" h="910589">
                    <a:moveTo>
                      <a:pt x="76200" y="0"/>
                    </a:moveTo>
                    <a:lnTo>
                      <a:pt x="32146" y="1190"/>
                    </a:lnTo>
                    <a:lnTo>
                      <a:pt x="9525" y="9525"/>
                    </a:lnTo>
                    <a:lnTo>
                      <a:pt x="1190" y="32146"/>
                    </a:lnTo>
                    <a:lnTo>
                      <a:pt x="0" y="76200"/>
                    </a:lnTo>
                    <a:lnTo>
                      <a:pt x="0" y="833818"/>
                    </a:lnTo>
                    <a:lnTo>
                      <a:pt x="1190" y="877871"/>
                    </a:lnTo>
                    <a:lnTo>
                      <a:pt x="9525" y="900493"/>
                    </a:lnTo>
                    <a:lnTo>
                      <a:pt x="32146" y="908827"/>
                    </a:lnTo>
                    <a:lnTo>
                      <a:pt x="76200" y="910018"/>
                    </a:lnTo>
                    <a:lnTo>
                      <a:pt x="833818" y="910018"/>
                    </a:lnTo>
                    <a:lnTo>
                      <a:pt x="877871" y="908827"/>
                    </a:lnTo>
                    <a:lnTo>
                      <a:pt x="900493" y="900493"/>
                    </a:lnTo>
                    <a:lnTo>
                      <a:pt x="908827" y="877871"/>
                    </a:lnTo>
                    <a:lnTo>
                      <a:pt x="910018" y="833818"/>
                    </a:lnTo>
                    <a:lnTo>
                      <a:pt x="910018" y="76200"/>
                    </a:lnTo>
                    <a:lnTo>
                      <a:pt x="908827" y="32146"/>
                    </a:lnTo>
                    <a:lnTo>
                      <a:pt x="900493" y="9525"/>
                    </a:lnTo>
                    <a:lnTo>
                      <a:pt x="877871" y="1190"/>
                    </a:lnTo>
                    <a:lnTo>
                      <a:pt x="833818" y="0"/>
                    </a:lnTo>
                    <a:lnTo>
                      <a:pt x="76200" y="0"/>
                    </a:lnTo>
                    <a:close/>
                  </a:path>
                </a:pathLst>
              </a:custGeom>
              <a:ln w="38100">
                <a:solidFill>
                  <a:srgbClr val="538C80"/>
                </a:solidFill>
              </a:ln>
            </p:spPr>
            <p:txBody>
              <a:bodyPr wrap="square" lIns="0" tIns="0" rIns="0" bIns="0" rtlCol="0"/>
              <a:lstStyle/>
              <a:p>
                <a:r>
                  <a:rPr lang="pt-BR" sz="1000" dirty="0"/>
                  <a:t> </a:t>
                </a:r>
              </a:p>
            </p:txBody>
          </p:sp>
        </p:grpSp>
        <p:sp>
          <p:nvSpPr>
            <p:cNvPr id="514" name="object 39">
              <a:extLst>
                <a:ext uri="{FF2B5EF4-FFF2-40B4-BE49-F238E27FC236}">
                  <a16:creationId xmlns:a16="http://schemas.microsoft.com/office/drawing/2014/main" id="{C1CCDA14-EE9D-4428-96D6-BD812E665D1F}"/>
                </a:ext>
              </a:extLst>
            </p:cNvPr>
            <p:cNvSpPr txBox="1"/>
            <p:nvPr/>
          </p:nvSpPr>
          <p:spPr>
            <a:xfrm>
              <a:off x="329920" y="5463253"/>
              <a:ext cx="1140434" cy="36083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algn="ctr"/>
              <a:r>
                <a:rPr lang="pt-BR" sz="900" dirty="0" err="1">
                  <a:latin typeface="Century Gothic"/>
                  <a:cs typeface="Century Gothic"/>
                </a:rPr>
                <a:t>Fertilizer</a:t>
              </a:r>
              <a:r>
                <a:rPr lang="pt-BR" sz="900" dirty="0">
                  <a:latin typeface="Century Gothic"/>
                  <a:cs typeface="Century Gothic"/>
                </a:rPr>
                <a:t> Industries</a:t>
              </a:r>
            </a:p>
          </p:txBody>
        </p:sp>
      </p:grpSp>
      <p:grpSp>
        <p:nvGrpSpPr>
          <p:cNvPr id="517" name="Agrupar 169">
            <a:extLst>
              <a:ext uri="{FF2B5EF4-FFF2-40B4-BE49-F238E27FC236}">
                <a16:creationId xmlns:a16="http://schemas.microsoft.com/office/drawing/2014/main" id="{B77F562D-8CB4-42C6-943E-2FF1F4A84901}"/>
              </a:ext>
            </a:extLst>
          </p:cNvPr>
          <p:cNvGrpSpPr/>
          <p:nvPr/>
        </p:nvGrpSpPr>
        <p:grpSpPr>
          <a:xfrm>
            <a:off x="4899452" y="4079496"/>
            <a:ext cx="1109894" cy="915979"/>
            <a:chOff x="1110720" y="3813523"/>
            <a:chExt cx="1411887" cy="1165210"/>
          </a:xfrm>
        </p:grpSpPr>
        <p:grpSp>
          <p:nvGrpSpPr>
            <p:cNvPr id="518" name="Agrupar 170">
              <a:extLst>
                <a:ext uri="{FF2B5EF4-FFF2-40B4-BE49-F238E27FC236}">
                  <a16:creationId xmlns:a16="http://schemas.microsoft.com/office/drawing/2014/main" id="{B640E2E3-E2AD-4452-B6A9-62C4DC589C9C}"/>
                </a:ext>
              </a:extLst>
            </p:cNvPr>
            <p:cNvGrpSpPr/>
            <p:nvPr/>
          </p:nvGrpSpPr>
          <p:grpSpPr>
            <a:xfrm>
              <a:off x="1368562" y="4068143"/>
              <a:ext cx="911122" cy="910590"/>
              <a:chOff x="1368562" y="4068143"/>
              <a:chExt cx="911122" cy="910590"/>
            </a:xfrm>
          </p:grpSpPr>
          <p:pic>
            <p:nvPicPr>
              <p:cNvPr id="520" name="Picture 12">
                <a:extLst>
                  <a:ext uri="{FF2B5EF4-FFF2-40B4-BE49-F238E27FC236}">
                    <a16:creationId xmlns:a16="http://schemas.microsoft.com/office/drawing/2014/main" id="{14EB93B2-9521-46D4-AC33-6D25E00FBC4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1368562" y="4076446"/>
                <a:ext cx="896205" cy="88387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21" name="object 32">
                <a:extLst>
                  <a:ext uri="{FF2B5EF4-FFF2-40B4-BE49-F238E27FC236}">
                    <a16:creationId xmlns:a16="http://schemas.microsoft.com/office/drawing/2014/main" id="{916D0D03-1904-4F8C-9C2C-A1E83184F446}"/>
                  </a:ext>
                </a:extLst>
              </p:cNvPr>
              <p:cNvSpPr/>
              <p:nvPr/>
            </p:nvSpPr>
            <p:spPr>
              <a:xfrm>
                <a:off x="1369094" y="4068143"/>
                <a:ext cx="910590" cy="910590"/>
              </a:xfrm>
              <a:custGeom>
                <a:avLst/>
                <a:gdLst/>
                <a:ahLst/>
                <a:cxnLst/>
                <a:rect l="l" t="t" r="r" b="b"/>
                <a:pathLst>
                  <a:path w="910590" h="910589">
                    <a:moveTo>
                      <a:pt x="76200" y="0"/>
                    </a:moveTo>
                    <a:lnTo>
                      <a:pt x="32146" y="1190"/>
                    </a:lnTo>
                    <a:lnTo>
                      <a:pt x="9525" y="9525"/>
                    </a:lnTo>
                    <a:lnTo>
                      <a:pt x="1190" y="32146"/>
                    </a:lnTo>
                    <a:lnTo>
                      <a:pt x="0" y="76200"/>
                    </a:lnTo>
                    <a:lnTo>
                      <a:pt x="0" y="833818"/>
                    </a:lnTo>
                    <a:lnTo>
                      <a:pt x="1190" y="877871"/>
                    </a:lnTo>
                    <a:lnTo>
                      <a:pt x="9525" y="900493"/>
                    </a:lnTo>
                    <a:lnTo>
                      <a:pt x="32146" y="908827"/>
                    </a:lnTo>
                    <a:lnTo>
                      <a:pt x="76200" y="910018"/>
                    </a:lnTo>
                    <a:lnTo>
                      <a:pt x="833818" y="910018"/>
                    </a:lnTo>
                    <a:lnTo>
                      <a:pt x="877871" y="908827"/>
                    </a:lnTo>
                    <a:lnTo>
                      <a:pt x="900493" y="900493"/>
                    </a:lnTo>
                    <a:lnTo>
                      <a:pt x="908827" y="877871"/>
                    </a:lnTo>
                    <a:lnTo>
                      <a:pt x="910018" y="833818"/>
                    </a:lnTo>
                    <a:lnTo>
                      <a:pt x="910018" y="76200"/>
                    </a:lnTo>
                    <a:lnTo>
                      <a:pt x="908827" y="32146"/>
                    </a:lnTo>
                    <a:lnTo>
                      <a:pt x="900493" y="9525"/>
                    </a:lnTo>
                    <a:lnTo>
                      <a:pt x="877871" y="1190"/>
                    </a:lnTo>
                    <a:lnTo>
                      <a:pt x="833818" y="0"/>
                    </a:lnTo>
                    <a:lnTo>
                      <a:pt x="76200" y="0"/>
                    </a:lnTo>
                    <a:close/>
                  </a:path>
                </a:pathLst>
              </a:custGeom>
              <a:ln w="38100">
                <a:solidFill>
                  <a:srgbClr val="538C80"/>
                </a:solidFill>
              </a:ln>
            </p:spPr>
            <p:txBody>
              <a:bodyPr wrap="square" lIns="0" tIns="0" rIns="0" bIns="0" rtlCol="0"/>
              <a:lstStyle/>
              <a:p>
                <a:endParaRPr lang="pt-BR" sz="1000" dirty="0"/>
              </a:p>
            </p:txBody>
          </p:sp>
        </p:grpSp>
        <p:sp>
          <p:nvSpPr>
            <p:cNvPr id="519" name="object 51">
              <a:extLst>
                <a:ext uri="{FF2B5EF4-FFF2-40B4-BE49-F238E27FC236}">
                  <a16:creationId xmlns:a16="http://schemas.microsoft.com/office/drawing/2014/main" id="{C749CC41-2B6A-4F97-9477-051C4E4E6F28}"/>
                </a:ext>
              </a:extLst>
            </p:cNvPr>
            <p:cNvSpPr txBox="1"/>
            <p:nvPr/>
          </p:nvSpPr>
          <p:spPr>
            <a:xfrm>
              <a:off x="1110720" y="3813523"/>
              <a:ext cx="1411887" cy="17618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62560" marR="5080" indent="-150495" algn="ctr"/>
              <a:r>
                <a:rPr lang="pt-BR" sz="900" dirty="0">
                  <a:latin typeface="Century Gothic"/>
                  <a:cs typeface="Century Gothic"/>
                </a:rPr>
                <a:t>TIC </a:t>
              </a:r>
              <a:r>
                <a:rPr lang="pt-BR" sz="900" dirty="0" err="1">
                  <a:latin typeface="Century Gothic"/>
                  <a:cs typeface="Century Gothic"/>
                </a:rPr>
                <a:t>Companies</a:t>
              </a:r>
              <a:endParaRPr lang="pt-BR" sz="900" dirty="0">
                <a:latin typeface="Century Gothic"/>
                <a:cs typeface="Century Gothic"/>
              </a:endParaRPr>
            </a:p>
          </p:txBody>
        </p:sp>
      </p:grpSp>
      <p:grpSp>
        <p:nvGrpSpPr>
          <p:cNvPr id="525" name="Grupo 524"/>
          <p:cNvGrpSpPr/>
          <p:nvPr/>
        </p:nvGrpSpPr>
        <p:grpSpPr>
          <a:xfrm>
            <a:off x="2732026" y="1575980"/>
            <a:ext cx="1109097" cy="1009930"/>
            <a:chOff x="393714" y="2270153"/>
            <a:chExt cx="1507324" cy="1372551"/>
          </a:xfrm>
        </p:grpSpPr>
        <p:grpSp>
          <p:nvGrpSpPr>
            <p:cNvPr id="526" name="Agrupar 20">
              <a:extLst>
                <a:ext uri="{FF2B5EF4-FFF2-40B4-BE49-F238E27FC236}">
                  <a16:creationId xmlns:a16="http://schemas.microsoft.com/office/drawing/2014/main" id="{DDDC0B83-060C-45A3-9927-478234EFAEE6}"/>
                </a:ext>
              </a:extLst>
            </p:cNvPr>
            <p:cNvGrpSpPr/>
            <p:nvPr/>
          </p:nvGrpSpPr>
          <p:grpSpPr>
            <a:xfrm>
              <a:off x="393714" y="2270153"/>
              <a:ext cx="1507324" cy="1349218"/>
              <a:chOff x="-325372" y="3694505"/>
              <a:chExt cx="1411887" cy="1263790"/>
            </a:xfrm>
          </p:grpSpPr>
          <p:pic>
            <p:nvPicPr>
              <p:cNvPr id="528" name="Picture 12" descr="Resultado de imagem para grains"/>
              <p:cNvPicPr>
                <a:picLocks noChangeAspect="1" noChangeArrowheads="1"/>
              </p:cNvPicPr>
              <p:nvPr/>
            </p:nvPicPr>
            <p:blipFill rotWithShape="1"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579" r="11899"/>
              <a:stretch/>
            </p:blipFill>
            <p:spPr bwMode="auto">
              <a:xfrm>
                <a:off x="-43934" y="4074423"/>
                <a:ext cx="914401" cy="88387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29" name="object 51"/>
              <p:cNvSpPr txBox="1"/>
              <p:nvPr/>
            </p:nvSpPr>
            <p:spPr>
              <a:xfrm>
                <a:off x="-325372" y="3694505"/>
                <a:ext cx="1411887" cy="166593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62560" marR="5080" indent="-150495" algn="ctr">
                  <a:lnSpc>
                    <a:spcPct val="100000"/>
                  </a:lnSpc>
                </a:pPr>
                <a:r>
                  <a:rPr lang="en-US" sz="900" dirty="0">
                    <a:latin typeface="Century Gothic"/>
                    <a:cs typeface="Century Gothic"/>
                  </a:rPr>
                  <a:t>Traders</a:t>
                </a:r>
                <a:endParaRPr lang="en-US" sz="1200" dirty="0">
                  <a:latin typeface="Century Gothic"/>
                  <a:cs typeface="Century Gothic"/>
                </a:endParaRPr>
              </a:p>
            </p:txBody>
          </p:sp>
        </p:grpSp>
        <p:sp>
          <p:nvSpPr>
            <p:cNvPr id="527" name="object 32"/>
            <p:cNvSpPr/>
            <p:nvPr/>
          </p:nvSpPr>
          <p:spPr>
            <a:xfrm>
              <a:off x="706085" y="2670562"/>
              <a:ext cx="972142" cy="972142"/>
            </a:xfrm>
            <a:custGeom>
              <a:avLst/>
              <a:gdLst/>
              <a:ahLst/>
              <a:cxnLst/>
              <a:rect l="l" t="t" r="r" b="b"/>
              <a:pathLst>
                <a:path w="910590" h="910589">
                  <a:moveTo>
                    <a:pt x="76200" y="0"/>
                  </a:moveTo>
                  <a:lnTo>
                    <a:pt x="32146" y="1190"/>
                  </a:lnTo>
                  <a:lnTo>
                    <a:pt x="9525" y="9525"/>
                  </a:lnTo>
                  <a:lnTo>
                    <a:pt x="1190" y="32146"/>
                  </a:lnTo>
                  <a:lnTo>
                    <a:pt x="0" y="76200"/>
                  </a:lnTo>
                  <a:lnTo>
                    <a:pt x="0" y="833818"/>
                  </a:lnTo>
                  <a:lnTo>
                    <a:pt x="1190" y="877871"/>
                  </a:lnTo>
                  <a:lnTo>
                    <a:pt x="9525" y="900493"/>
                  </a:lnTo>
                  <a:lnTo>
                    <a:pt x="32146" y="908827"/>
                  </a:lnTo>
                  <a:lnTo>
                    <a:pt x="76200" y="910018"/>
                  </a:lnTo>
                  <a:lnTo>
                    <a:pt x="833818" y="910018"/>
                  </a:lnTo>
                  <a:lnTo>
                    <a:pt x="877871" y="908827"/>
                  </a:lnTo>
                  <a:lnTo>
                    <a:pt x="900493" y="900493"/>
                  </a:lnTo>
                  <a:lnTo>
                    <a:pt x="908827" y="877871"/>
                  </a:lnTo>
                  <a:lnTo>
                    <a:pt x="910018" y="833818"/>
                  </a:lnTo>
                  <a:lnTo>
                    <a:pt x="910018" y="76200"/>
                  </a:lnTo>
                  <a:lnTo>
                    <a:pt x="908827" y="32146"/>
                  </a:lnTo>
                  <a:lnTo>
                    <a:pt x="900493" y="9525"/>
                  </a:lnTo>
                  <a:lnTo>
                    <a:pt x="877871" y="1190"/>
                  </a:lnTo>
                  <a:lnTo>
                    <a:pt x="833818" y="0"/>
                  </a:lnTo>
                  <a:lnTo>
                    <a:pt x="76200" y="0"/>
                  </a:lnTo>
                  <a:close/>
                </a:path>
              </a:pathLst>
            </a:custGeom>
            <a:ln w="38100">
              <a:solidFill>
                <a:srgbClr val="538C80"/>
              </a:solidFill>
            </a:ln>
          </p:spPr>
          <p:txBody>
            <a:bodyPr wrap="square" lIns="0" tIns="0" rIns="0" bIns="0" rtlCol="0"/>
            <a:lstStyle/>
            <a:p>
              <a:r>
                <a:rPr lang="pt-BR" dirty="0"/>
                <a:t> </a:t>
              </a:r>
            </a:p>
          </p:txBody>
        </p:sp>
      </p:grpSp>
      <p:cxnSp>
        <p:nvCxnSpPr>
          <p:cNvPr id="530" name="Conector reto 529">
            <a:extLst>
              <a:ext uri="{FF2B5EF4-FFF2-40B4-BE49-F238E27FC236}">
                <a16:creationId xmlns:a16="http://schemas.microsoft.com/office/drawing/2014/main" id="{D7E4E958-B231-4DD8-8EB9-3C6778D99474}"/>
              </a:ext>
            </a:extLst>
          </p:cNvPr>
          <p:cNvCxnSpPr/>
          <p:nvPr/>
        </p:nvCxnSpPr>
        <p:spPr>
          <a:xfrm>
            <a:off x="2782343" y="1463250"/>
            <a:ext cx="6125437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1" name="Conector reto 530">
            <a:extLst>
              <a:ext uri="{FF2B5EF4-FFF2-40B4-BE49-F238E27FC236}">
                <a16:creationId xmlns:a16="http://schemas.microsoft.com/office/drawing/2014/main" id="{D7E4E958-B231-4DD8-8EB9-3C6778D99474}"/>
              </a:ext>
            </a:extLst>
          </p:cNvPr>
          <p:cNvCxnSpPr/>
          <p:nvPr/>
        </p:nvCxnSpPr>
        <p:spPr>
          <a:xfrm>
            <a:off x="2740899" y="2728170"/>
            <a:ext cx="6125437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2" name="Conector reto 531">
            <a:extLst>
              <a:ext uri="{FF2B5EF4-FFF2-40B4-BE49-F238E27FC236}">
                <a16:creationId xmlns:a16="http://schemas.microsoft.com/office/drawing/2014/main" id="{D7E4E958-B231-4DD8-8EB9-3C6778D99474}"/>
              </a:ext>
            </a:extLst>
          </p:cNvPr>
          <p:cNvCxnSpPr/>
          <p:nvPr/>
        </p:nvCxnSpPr>
        <p:spPr>
          <a:xfrm>
            <a:off x="2732026" y="3932237"/>
            <a:ext cx="6125437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98310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object 16"/>
          <p:cNvSpPr txBox="1"/>
          <p:nvPr/>
        </p:nvSpPr>
        <p:spPr>
          <a:xfrm>
            <a:off x="76200" y="1186756"/>
            <a:ext cx="2468880" cy="276998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/>
            <a:r>
              <a:rPr lang="en-US" sz="3600" dirty="0">
                <a:solidFill>
                  <a:schemeClr val="bg2">
                    <a:lumMod val="75000"/>
                  </a:schemeClr>
                </a:solidFill>
                <a:latin typeface="Century Gothic" panose="020B0502020202020204" pitchFamily="34" charset="0"/>
                <a:cs typeface="Calibri"/>
              </a:rPr>
              <a:t>Cultures / products that TBIT works</a:t>
            </a:r>
          </a:p>
          <a:p>
            <a:pPr marL="12700" algn="ctr">
              <a:lnSpc>
                <a:spcPct val="100000"/>
              </a:lnSpc>
            </a:pPr>
            <a:endParaRPr lang="pt-BR" sz="3600" dirty="0">
              <a:solidFill>
                <a:schemeClr val="bg2">
                  <a:lumMod val="75000"/>
                </a:schemeClr>
              </a:solidFill>
              <a:latin typeface="Century Gothic" panose="020B0502020202020204" pitchFamily="34" charset="0"/>
              <a:cs typeface="Calibri"/>
            </a:endParaRPr>
          </a:p>
        </p:txBody>
      </p:sp>
      <p:graphicFrame>
        <p:nvGraphicFramePr>
          <p:cNvPr id="120" name="Diagrama 119"/>
          <p:cNvGraphicFramePr/>
          <p:nvPr>
            <p:extLst>
              <p:ext uri="{D42A27DB-BD31-4B8C-83A1-F6EECF244321}">
                <p14:modId xmlns:p14="http://schemas.microsoft.com/office/powerpoint/2010/main" val="2109215749"/>
              </p:ext>
            </p:extLst>
          </p:nvPr>
        </p:nvGraphicFramePr>
        <p:xfrm>
          <a:off x="2613660" y="285882"/>
          <a:ext cx="1603100" cy="11302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21" name="Diagrama 120"/>
          <p:cNvGraphicFramePr/>
          <p:nvPr>
            <p:extLst>
              <p:ext uri="{D42A27DB-BD31-4B8C-83A1-F6EECF244321}">
                <p14:modId xmlns:p14="http://schemas.microsoft.com/office/powerpoint/2010/main" val="20095194"/>
              </p:ext>
            </p:extLst>
          </p:nvPr>
        </p:nvGraphicFramePr>
        <p:xfrm>
          <a:off x="2613660" y="1408569"/>
          <a:ext cx="1603100" cy="11302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122" name="Diagrama 121"/>
          <p:cNvGraphicFramePr/>
          <p:nvPr>
            <p:extLst>
              <p:ext uri="{D42A27DB-BD31-4B8C-83A1-F6EECF244321}">
                <p14:modId xmlns:p14="http://schemas.microsoft.com/office/powerpoint/2010/main" val="3664348527"/>
              </p:ext>
            </p:extLst>
          </p:nvPr>
        </p:nvGraphicFramePr>
        <p:xfrm>
          <a:off x="2613660" y="2515067"/>
          <a:ext cx="1603100" cy="11302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123" name="Diagrama 122"/>
          <p:cNvGraphicFramePr/>
          <p:nvPr>
            <p:extLst>
              <p:ext uri="{D42A27DB-BD31-4B8C-83A1-F6EECF244321}">
                <p14:modId xmlns:p14="http://schemas.microsoft.com/office/powerpoint/2010/main" val="3836711557"/>
              </p:ext>
            </p:extLst>
          </p:nvPr>
        </p:nvGraphicFramePr>
        <p:xfrm>
          <a:off x="7483496" y="1408569"/>
          <a:ext cx="1603100" cy="11302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aphicFrame>
        <p:nvGraphicFramePr>
          <p:cNvPr id="124" name="Diagrama 123"/>
          <p:cNvGraphicFramePr/>
          <p:nvPr>
            <p:extLst>
              <p:ext uri="{D42A27DB-BD31-4B8C-83A1-F6EECF244321}">
                <p14:modId xmlns:p14="http://schemas.microsoft.com/office/powerpoint/2010/main" val="3755634050"/>
              </p:ext>
            </p:extLst>
          </p:nvPr>
        </p:nvGraphicFramePr>
        <p:xfrm>
          <a:off x="4231264" y="285882"/>
          <a:ext cx="1603100" cy="11302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graphicFrame>
        <p:nvGraphicFramePr>
          <p:cNvPr id="125" name="Diagrama 124"/>
          <p:cNvGraphicFramePr/>
          <p:nvPr>
            <p:extLst>
              <p:ext uri="{D42A27DB-BD31-4B8C-83A1-F6EECF244321}">
                <p14:modId xmlns:p14="http://schemas.microsoft.com/office/powerpoint/2010/main" val="3760324148"/>
              </p:ext>
            </p:extLst>
          </p:nvPr>
        </p:nvGraphicFramePr>
        <p:xfrm>
          <a:off x="4231264" y="1408569"/>
          <a:ext cx="1603100" cy="11302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8" r:lo="rId29" r:qs="rId30" r:cs="rId31"/>
          </a:graphicData>
        </a:graphic>
      </p:graphicFrame>
      <p:graphicFrame>
        <p:nvGraphicFramePr>
          <p:cNvPr id="126" name="Diagrama 125"/>
          <p:cNvGraphicFramePr/>
          <p:nvPr>
            <p:extLst>
              <p:ext uri="{D42A27DB-BD31-4B8C-83A1-F6EECF244321}">
                <p14:modId xmlns:p14="http://schemas.microsoft.com/office/powerpoint/2010/main" val="4050954113"/>
              </p:ext>
            </p:extLst>
          </p:nvPr>
        </p:nvGraphicFramePr>
        <p:xfrm>
          <a:off x="4231264" y="3610883"/>
          <a:ext cx="1603100" cy="11302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3" r:lo="rId34" r:qs="rId35" r:cs="rId36"/>
          </a:graphicData>
        </a:graphic>
      </p:graphicFrame>
      <p:graphicFrame>
        <p:nvGraphicFramePr>
          <p:cNvPr id="127" name="Diagrama 126"/>
          <p:cNvGraphicFramePr/>
          <p:nvPr>
            <p:extLst>
              <p:ext uri="{D42A27DB-BD31-4B8C-83A1-F6EECF244321}">
                <p14:modId xmlns:p14="http://schemas.microsoft.com/office/powerpoint/2010/main" val="3039671704"/>
              </p:ext>
            </p:extLst>
          </p:nvPr>
        </p:nvGraphicFramePr>
        <p:xfrm>
          <a:off x="4231264" y="2515067"/>
          <a:ext cx="1603100" cy="11302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8" r:lo="rId39" r:qs="rId40" r:cs="rId41"/>
          </a:graphicData>
        </a:graphic>
      </p:graphicFrame>
      <p:graphicFrame>
        <p:nvGraphicFramePr>
          <p:cNvPr id="128" name="Diagrama 127"/>
          <p:cNvGraphicFramePr/>
          <p:nvPr>
            <p:extLst>
              <p:ext uri="{D42A27DB-BD31-4B8C-83A1-F6EECF244321}">
                <p14:modId xmlns:p14="http://schemas.microsoft.com/office/powerpoint/2010/main" val="3868341762"/>
              </p:ext>
            </p:extLst>
          </p:nvPr>
        </p:nvGraphicFramePr>
        <p:xfrm>
          <a:off x="5859569" y="285882"/>
          <a:ext cx="1603100" cy="11302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3" r:lo="rId44" r:qs="rId45" r:cs="rId46"/>
          </a:graphicData>
        </a:graphic>
      </p:graphicFrame>
      <p:graphicFrame>
        <p:nvGraphicFramePr>
          <p:cNvPr id="129" name="Diagrama 128"/>
          <p:cNvGraphicFramePr/>
          <p:nvPr>
            <p:extLst>
              <p:ext uri="{D42A27DB-BD31-4B8C-83A1-F6EECF244321}">
                <p14:modId xmlns:p14="http://schemas.microsoft.com/office/powerpoint/2010/main" val="3456983093"/>
              </p:ext>
            </p:extLst>
          </p:nvPr>
        </p:nvGraphicFramePr>
        <p:xfrm>
          <a:off x="5859569" y="1408569"/>
          <a:ext cx="1603100" cy="11302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8" r:lo="rId49" r:qs="rId50" r:cs="rId51"/>
          </a:graphicData>
        </a:graphic>
      </p:graphicFrame>
      <p:graphicFrame>
        <p:nvGraphicFramePr>
          <p:cNvPr id="130" name="Diagrama 129"/>
          <p:cNvGraphicFramePr/>
          <p:nvPr>
            <p:extLst>
              <p:ext uri="{D42A27DB-BD31-4B8C-83A1-F6EECF244321}">
                <p14:modId xmlns:p14="http://schemas.microsoft.com/office/powerpoint/2010/main" val="3456307166"/>
              </p:ext>
            </p:extLst>
          </p:nvPr>
        </p:nvGraphicFramePr>
        <p:xfrm>
          <a:off x="5859569" y="2515067"/>
          <a:ext cx="1603100" cy="11302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3" r:lo="rId54" r:qs="rId55" r:cs="rId56"/>
          </a:graphicData>
        </a:graphic>
      </p:graphicFrame>
      <p:graphicFrame>
        <p:nvGraphicFramePr>
          <p:cNvPr id="131" name="Diagrama 130"/>
          <p:cNvGraphicFramePr/>
          <p:nvPr>
            <p:extLst>
              <p:ext uri="{D42A27DB-BD31-4B8C-83A1-F6EECF244321}">
                <p14:modId xmlns:p14="http://schemas.microsoft.com/office/powerpoint/2010/main" val="990381534"/>
              </p:ext>
            </p:extLst>
          </p:nvPr>
        </p:nvGraphicFramePr>
        <p:xfrm>
          <a:off x="5859569" y="3610883"/>
          <a:ext cx="1603100" cy="11302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8" r:lo="rId59" r:qs="rId60" r:cs="rId61"/>
          </a:graphicData>
        </a:graphic>
      </p:graphicFrame>
      <p:graphicFrame>
        <p:nvGraphicFramePr>
          <p:cNvPr id="133" name="Diagrama 132"/>
          <p:cNvGraphicFramePr/>
          <p:nvPr>
            <p:extLst>
              <p:ext uri="{D42A27DB-BD31-4B8C-83A1-F6EECF244321}">
                <p14:modId xmlns:p14="http://schemas.microsoft.com/office/powerpoint/2010/main" val="2089366664"/>
              </p:ext>
            </p:extLst>
          </p:nvPr>
        </p:nvGraphicFramePr>
        <p:xfrm>
          <a:off x="7483496" y="285882"/>
          <a:ext cx="1603100" cy="11302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3" r:lo="rId64" r:qs="rId65" r:cs="rId66"/>
          </a:graphicData>
        </a:graphic>
      </p:graphicFrame>
      <p:graphicFrame>
        <p:nvGraphicFramePr>
          <p:cNvPr id="134" name="Diagrama 133"/>
          <p:cNvGraphicFramePr/>
          <p:nvPr>
            <p:extLst>
              <p:ext uri="{D42A27DB-BD31-4B8C-83A1-F6EECF244321}">
                <p14:modId xmlns:p14="http://schemas.microsoft.com/office/powerpoint/2010/main" val="1059397096"/>
              </p:ext>
            </p:extLst>
          </p:nvPr>
        </p:nvGraphicFramePr>
        <p:xfrm>
          <a:off x="2613660" y="3610883"/>
          <a:ext cx="1603100" cy="11302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8" r:lo="rId69" r:qs="rId70" r:cs="rId71"/>
          </a:graphicData>
        </a:graphic>
      </p:graphicFrame>
      <p:graphicFrame>
        <p:nvGraphicFramePr>
          <p:cNvPr id="135" name="Diagrama 134"/>
          <p:cNvGraphicFramePr/>
          <p:nvPr>
            <p:extLst>
              <p:ext uri="{D42A27DB-BD31-4B8C-83A1-F6EECF244321}">
                <p14:modId xmlns:p14="http://schemas.microsoft.com/office/powerpoint/2010/main" val="3987752130"/>
              </p:ext>
            </p:extLst>
          </p:nvPr>
        </p:nvGraphicFramePr>
        <p:xfrm>
          <a:off x="7483496" y="2515067"/>
          <a:ext cx="1603100" cy="11302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3" r:lo="rId74" r:qs="rId75" r:cs="rId76"/>
          </a:graphicData>
        </a:graphic>
      </p:graphicFrame>
      <p:graphicFrame>
        <p:nvGraphicFramePr>
          <p:cNvPr id="136" name="Diagrama 135"/>
          <p:cNvGraphicFramePr/>
          <p:nvPr>
            <p:extLst>
              <p:ext uri="{D42A27DB-BD31-4B8C-83A1-F6EECF244321}">
                <p14:modId xmlns:p14="http://schemas.microsoft.com/office/powerpoint/2010/main" val="2309710682"/>
              </p:ext>
            </p:extLst>
          </p:nvPr>
        </p:nvGraphicFramePr>
        <p:xfrm>
          <a:off x="7483496" y="3610883"/>
          <a:ext cx="1603100" cy="11302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8" r:lo="rId79" r:qs="rId80" r:cs="rId81"/>
          </a:graphicData>
        </a:graphic>
      </p:graphicFrame>
      <p:pic>
        <p:nvPicPr>
          <p:cNvPr id="137" name="Picture 19" descr="C:\Users\Michelle\Pictures\Saved Pictures\Saved Pictures\Logo EN escrito verde.png"/>
          <p:cNvPicPr>
            <a:picLocks noChangeAspect="1" noChangeArrowheads="1"/>
          </p:cNvPicPr>
          <p:nvPr/>
        </p:nvPicPr>
        <p:blipFill rotWithShape="1">
          <a:blip r:embed="rId8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5316"/>
          <a:stretch/>
        </p:blipFill>
        <p:spPr bwMode="auto">
          <a:xfrm>
            <a:off x="8557053" y="4795047"/>
            <a:ext cx="447248" cy="233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6116627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C:\Users\Michelle\Downloads\logo GE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6946" y="1307892"/>
            <a:ext cx="1064876" cy="385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Imagem 25">
            <a:extLst>
              <a:ext uri="{FF2B5EF4-FFF2-40B4-BE49-F238E27FC236}">
                <a16:creationId xmlns:a16="http://schemas.microsoft.com/office/drawing/2014/main" id="{30E29759-2AA3-4458-9169-1C06E10E2C1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6612" y="1365787"/>
            <a:ext cx="1137648" cy="352178"/>
          </a:xfrm>
          <a:prstGeom prst="rect">
            <a:avLst/>
          </a:prstGeom>
        </p:spPr>
      </p:pic>
      <p:pic>
        <p:nvPicPr>
          <p:cNvPr id="30" name="Imagem 29">
            <a:extLst>
              <a:ext uri="{FF2B5EF4-FFF2-40B4-BE49-F238E27FC236}">
                <a16:creationId xmlns:a16="http://schemas.microsoft.com/office/drawing/2014/main" id="{6DB027A1-DBF0-41A3-BBDE-0E0B65C43B3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3183" y="1312638"/>
            <a:ext cx="1064114" cy="425646"/>
          </a:xfrm>
          <a:prstGeom prst="rect">
            <a:avLst/>
          </a:prstGeom>
        </p:spPr>
      </p:pic>
      <p:pic>
        <p:nvPicPr>
          <p:cNvPr id="34" name="Picture 2" descr="https://www.tbit.com.br/wp-content/uploads/2017/11/View2-_Sem_fundo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263" y="1707804"/>
            <a:ext cx="1519632" cy="15196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" descr="https://www.tbit.com.br/wp-content/uploads/2018/08/ZeaEye-03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5312" y="1891138"/>
            <a:ext cx="1320860" cy="1246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6" descr="https://www.tbit.com.br/wp-content/uploads/2017/05/IMG_4497-copy-599x768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8876" y="1788221"/>
            <a:ext cx="1088320" cy="1395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tângulo 11"/>
          <p:cNvSpPr/>
          <p:nvPr/>
        </p:nvSpPr>
        <p:spPr>
          <a:xfrm>
            <a:off x="4286296" y="372139"/>
            <a:ext cx="674000" cy="467833"/>
          </a:xfrm>
          <a:prstGeom prst="rect">
            <a:avLst/>
          </a:prstGeom>
          <a:solidFill>
            <a:srgbClr val="26D4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sp>
        <p:nvSpPr>
          <p:cNvPr id="13" name="object 16"/>
          <p:cNvSpPr txBox="1"/>
          <p:nvPr/>
        </p:nvSpPr>
        <p:spPr>
          <a:xfrm>
            <a:off x="506017" y="421389"/>
            <a:ext cx="7949482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/>
            <a:r>
              <a:rPr lang="pt-BR" sz="3200" dirty="0" err="1">
                <a:solidFill>
                  <a:schemeClr val="bg2">
                    <a:lumMod val="75000"/>
                  </a:schemeClr>
                </a:solidFill>
                <a:latin typeface="Century Gothic" panose="020B0502020202020204" pitchFamily="34" charset="0"/>
                <a:cs typeface="Calibri"/>
              </a:rPr>
              <a:t>Main</a:t>
            </a:r>
            <a:r>
              <a:rPr lang="pt-BR" sz="3200" dirty="0">
                <a:solidFill>
                  <a:schemeClr val="bg2">
                    <a:lumMod val="75000"/>
                  </a:schemeClr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lang="pt-BR" sz="3200" dirty="0" err="1">
                <a:solidFill>
                  <a:schemeClr val="bg2">
                    <a:lumMod val="75000"/>
                  </a:schemeClr>
                </a:solidFill>
                <a:latin typeface="Century Gothic" panose="020B0502020202020204" pitchFamily="34" charset="0"/>
                <a:cs typeface="Calibri"/>
              </a:rPr>
              <a:t>products</a:t>
            </a:r>
            <a:endParaRPr lang="pt-BR" sz="3200" dirty="0">
              <a:solidFill>
                <a:schemeClr val="bg2">
                  <a:lumMod val="75000"/>
                </a:schemeClr>
              </a:solidFill>
              <a:latin typeface="Century Gothic" panose="020B0502020202020204" pitchFamily="34" charset="0"/>
              <a:cs typeface="Calibri"/>
            </a:endParaRPr>
          </a:p>
        </p:txBody>
      </p:sp>
      <p:pic>
        <p:nvPicPr>
          <p:cNvPr id="1026" name="Picture 2" descr="C:\Users\Michelle\Downloads\Logo FeedView_PNG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4316" y="1287308"/>
            <a:ext cx="1259526" cy="476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Espaço Reservado para Texto 7"/>
          <p:cNvSpPr>
            <a:spLocks noGrp="1"/>
          </p:cNvSpPr>
          <p:nvPr>
            <p:ph type="body" idx="4294967295"/>
          </p:nvPr>
        </p:nvSpPr>
        <p:spPr>
          <a:xfrm>
            <a:off x="943185" y="3014235"/>
            <a:ext cx="1725650" cy="2471318"/>
          </a:xfrm>
          <a:prstGeom prst="rect">
            <a:avLst/>
          </a:prstGeom>
        </p:spPr>
        <p:txBody>
          <a:bodyPr/>
          <a:lstStyle/>
          <a:p>
            <a:pPr marL="0" marR="5080" indent="0" algn="ctr">
              <a:lnSpc>
                <a:spcPct val="100000"/>
              </a:lnSpc>
              <a:buNone/>
            </a:pPr>
            <a:r>
              <a:rPr lang="pt-BR" sz="800" b="1" spc="75" dirty="0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Seed </a:t>
            </a:r>
            <a:r>
              <a:rPr lang="pt-BR" sz="800" b="1" spc="75" dirty="0" err="1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treatment</a:t>
            </a:r>
            <a:endParaRPr lang="pt-BR" sz="800" b="1" spc="75" dirty="0">
              <a:solidFill>
                <a:srgbClr val="414042"/>
              </a:solidFill>
              <a:latin typeface="Century Gothic" panose="020B0502020202020204" pitchFamily="34" charset="0"/>
              <a:cs typeface="Calibri"/>
            </a:endParaRPr>
          </a:p>
          <a:p>
            <a:pPr marL="355600" marR="5080" indent="-342900">
              <a:lnSpc>
                <a:spcPct val="100000"/>
              </a:lnSpc>
              <a:buSzPts val="900"/>
              <a:buFont typeface="Arial" panose="020B0604020202020204" pitchFamily="34" charset="0"/>
              <a:buChar char="•"/>
            </a:pPr>
            <a:r>
              <a:rPr lang="en-US" sz="800" spc="75" dirty="0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Seed treatment coverage quality;</a:t>
            </a:r>
            <a:endParaRPr lang="pt-BR" sz="800" spc="75" dirty="0">
              <a:solidFill>
                <a:srgbClr val="414042"/>
              </a:solidFill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16" name="Espaço Reservado para Texto 7"/>
          <p:cNvSpPr>
            <a:spLocks noGrp="1"/>
          </p:cNvSpPr>
          <p:nvPr>
            <p:ph type="body" idx="4294967295"/>
          </p:nvPr>
        </p:nvSpPr>
        <p:spPr>
          <a:xfrm>
            <a:off x="2791369" y="3014235"/>
            <a:ext cx="1889170" cy="2471318"/>
          </a:xfrm>
          <a:prstGeom prst="rect">
            <a:avLst/>
          </a:prstGeom>
        </p:spPr>
        <p:txBody>
          <a:bodyPr/>
          <a:lstStyle/>
          <a:p>
            <a:pPr marL="0" marR="5080" indent="0" algn="ctr">
              <a:lnSpc>
                <a:spcPct val="100000"/>
              </a:lnSpc>
              <a:buNone/>
            </a:pPr>
            <a:r>
              <a:rPr lang="pt-BR" sz="800" b="1" spc="75" dirty="0" err="1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Grains</a:t>
            </a:r>
            <a:endParaRPr lang="pt-BR" sz="800" b="1" spc="75" dirty="0">
              <a:solidFill>
                <a:srgbClr val="414042"/>
              </a:solidFill>
              <a:latin typeface="Century Gothic" panose="020B0502020202020204" pitchFamily="34" charset="0"/>
              <a:cs typeface="Calibri"/>
            </a:endParaRPr>
          </a:p>
          <a:p>
            <a:pPr marL="355600" marR="5080" indent="-342900">
              <a:lnSpc>
                <a:spcPct val="100000"/>
              </a:lnSpc>
              <a:buSzPts val="900"/>
              <a:buFont typeface="Arial" panose="020B0604020202020204" pitchFamily="34" charset="0"/>
              <a:buChar char="•"/>
            </a:pPr>
            <a:r>
              <a:rPr lang="en-US" sz="800" spc="75" dirty="0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Soy and corn grading; </a:t>
            </a:r>
          </a:p>
          <a:p>
            <a:pPr marL="355600" marR="5080" indent="-342900">
              <a:lnSpc>
                <a:spcPct val="100000"/>
              </a:lnSpc>
              <a:buSzPts val="900"/>
              <a:buFont typeface="Arial" panose="020B0604020202020204" pitchFamily="34" charset="0"/>
              <a:buChar char="•"/>
            </a:pPr>
            <a:r>
              <a:rPr lang="en-US" sz="800" spc="75" dirty="0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Eliminates human subjectivity;</a:t>
            </a:r>
          </a:p>
          <a:p>
            <a:pPr marL="355600" marR="5080" indent="-342900">
              <a:lnSpc>
                <a:spcPct val="100000"/>
              </a:lnSpc>
              <a:buSzPts val="900"/>
              <a:buFont typeface="Arial" panose="020B0604020202020204" pitchFamily="34" charset="0"/>
              <a:buChar char="•"/>
            </a:pPr>
            <a:r>
              <a:rPr lang="en-US" sz="800" spc="75" dirty="0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Enables traceability of results, real-time monitoring of quality and big data;</a:t>
            </a:r>
          </a:p>
          <a:p>
            <a:pPr marL="355600" marR="5080" indent="-342900">
              <a:lnSpc>
                <a:spcPct val="100000"/>
              </a:lnSpc>
              <a:buSzPts val="900"/>
              <a:buFont typeface="Arial" panose="020B0604020202020204" pitchFamily="34" charset="0"/>
              <a:buChar char="•"/>
            </a:pPr>
            <a:r>
              <a:rPr lang="en-US" sz="800" spc="75" dirty="0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Top and bottom image; </a:t>
            </a:r>
          </a:p>
        </p:txBody>
      </p:sp>
      <p:cxnSp>
        <p:nvCxnSpPr>
          <p:cNvPr id="17" name="Straight Connector 4">
            <a:extLst>
              <a:ext uri="{FF2B5EF4-FFF2-40B4-BE49-F238E27FC236}">
                <a16:creationId xmlns:a16="http://schemas.microsoft.com/office/drawing/2014/main" id="{403F5326-8CA7-4AC9-87BD-39A46F7D4C80}"/>
              </a:ext>
            </a:extLst>
          </p:cNvPr>
          <p:cNvCxnSpPr>
            <a:cxnSpLocks/>
          </p:cNvCxnSpPr>
          <p:nvPr/>
        </p:nvCxnSpPr>
        <p:spPr>
          <a:xfrm>
            <a:off x="2686436" y="1625333"/>
            <a:ext cx="0" cy="3025089"/>
          </a:xfrm>
          <a:prstGeom prst="line">
            <a:avLst/>
          </a:prstGeom>
          <a:ln>
            <a:solidFill>
              <a:schemeClr val="tx1">
                <a:alpha val="3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spaço Reservado para Texto 7"/>
          <p:cNvSpPr>
            <a:spLocks noGrp="1"/>
          </p:cNvSpPr>
          <p:nvPr>
            <p:ph type="body" idx="4294967295"/>
          </p:nvPr>
        </p:nvSpPr>
        <p:spPr>
          <a:xfrm>
            <a:off x="4669959" y="3062181"/>
            <a:ext cx="1853470" cy="2471318"/>
          </a:xfrm>
          <a:prstGeom prst="rect">
            <a:avLst/>
          </a:prstGeom>
        </p:spPr>
        <p:txBody>
          <a:bodyPr/>
          <a:lstStyle/>
          <a:p>
            <a:pPr marL="0" marR="5080" indent="0" algn="ctr">
              <a:lnSpc>
                <a:spcPct val="100000"/>
              </a:lnSpc>
              <a:buNone/>
            </a:pPr>
            <a:r>
              <a:rPr lang="pt-BR" sz="800" b="1" spc="75" dirty="0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Feed:</a:t>
            </a:r>
            <a:endParaRPr lang="pt-BR" sz="800" spc="75" dirty="0">
              <a:solidFill>
                <a:srgbClr val="414042"/>
              </a:solidFill>
              <a:latin typeface="Century Gothic" panose="020B0502020202020204" pitchFamily="34" charset="0"/>
              <a:cs typeface="Calibri"/>
            </a:endParaRPr>
          </a:p>
          <a:p>
            <a:pPr marL="355600" marR="5080" indent="-342900">
              <a:lnSpc>
                <a:spcPct val="100000"/>
              </a:lnSpc>
              <a:buSzPts val="900"/>
              <a:buFont typeface="Arial" panose="020B0604020202020204" pitchFamily="34" charset="0"/>
              <a:buChar char="•"/>
            </a:pPr>
            <a:r>
              <a:rPr lang="en-US" sz="800" spc="75" dirty="0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Count and weight of one thousand elements;</a:t>
            </a:r>
          </a:p>
          <a:p>
            <a:pPr marL="355600" marR="5080" indent="-342900">
              <a:lnSpc>
                <a:spcPct val="100000"/>
              </a:lnSpc>
              <a:buSzPts val="900"/>
              <a:buFont typeface="Arial" panose="020B0604020202020204" pitchFamily="34" charset="0"/>
              <a:buChar char="•"/>
            </a:pPr>
            <a:r>
              <a:rPr lang="en-US" sz="800" spc="75" dirty="0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Uniformity of products;</a:t>
            </a:r>
          </a:p>
          <a:p>
            <a:pPr marL="355600" marR="5080" indent="-342900">
              <a:lnSpc>
                <a:spcPct val="100000"/>
              </a:lnSpc>
              <a:buSzPts val="900"/>
              <a:buFont typeface="Arial" panose="020B0604020202020204" pitchFamily="34" charset="0"/>
              <a:buChar char="•"/>
            </a:pPr>
            <a:r>
              <a:rPr lang="en-US" sz="800" spc="75" dirty="0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Contaminants;</a:t>
            </a:r>
          </a:p>
          <a:p>
            <a:pPr marL="355600" marR="5080" indent="-342900">
              <a:lnSpc>
                <a:spcPct val="100000"/>
              </a:lnSpc>
              <a:buSzPts val="900"/>
              <a:buFont typeface="Arial" panose="020B0604020202020204" pitchFamily="34" charset="0"/>
              <a:buChar char="•"/>
            </a:pPr>
            <a:r>
              <a:rPr lang="en-US" sz="800" spc="75" dirty="0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Product mix;</a:t>
            </a:r>
          </a:p>
          <a:p>
            <a:pPr marL="355600" marR="5080" indent="-342900">
              <a:lnSpc>
                <a:spcPct val="100000"/>
              </a:lnSpc>
              <a:buSzPts val="900"/>
              <a:buFont typeface="Arial" panose="020B0604020202020204" pitchFamily="34" charset="0"/>
              <a:buChar char="•"/>
            </a:pPr>
            <a:r>
              <a:rPr lang="en-US" sz="800" spc="75" dirty="0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Physical defects;</a:t>
            </a:r>
          </a:p>
          <a:p>
            <a:pPr marL="355600" marR="5080" indent="-342900">
              <a:lnSpc>
                <a:spcPct val="100000"/>
              </a:lnSpc>
              <a:buSzPts val="900"/>
              <a:buFont typeface="Arial" panose="020B0604020202020204" pitchFamily="34" charset="0"/>
              <a:buChar char="•"/>
            </a:pPr>
            <a:r>
              <a:rPr lang="en-US" sz="800" spc="75" dirty="0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Classification of pellets</a:t>
            </a:r>
            <a:endParaRPr lang="pt-BR" sz="800" spc="75" dirty="0">
              <a:solidFill>
                <a:srgbClr val="414042"/>
              </a:solidFill>
              <a:latin typeface="Century Gothic" panose="020B0502020202020204" pitchFamily="34" charset="0"/>
              <a:cs typeface="Calibri"/>
            </a:endParaRPr>
          </a:p>
        </p:txBody>
      </p:sp>
      <p:cxnSp>
        <p:nvCxnSpPr>
          <p:cNvPr id="23" name="Straight Connector 4">
            <a:extLst>
              <a:ext uri="{FF2B5EF4-FFF2-40B4-BE49-F238E27FC236}">
                <a16:creationId xmlns:a16="http://schemas.microsoft.com/office/drawing/2014/main" id="{403F5326-8CA7-4AC9-87BD-39A46F7D4C80}"/>
              </a:ext>
            </a:extLst>
          </p:cNvPr>
          <p:cNvCxnSpPr>
            <a:cxnSpLocks/>
          </p:cNvCxnSpPr>
          <p:nvPr/>
        </p:nvCxnSpPr>
        <p:spPr>
          <a:xfrm>
            <a:off x="4675280" y="1625333"/>
            <a:ext cx="0" cy="3025089"/>
          </a:xfrm>
          <a:prstGeom prst="line">
            <a:avLst/>
          </a:prstGeom>
          <a:ln>
            <a:solidFill>
              <a:schemeClr val="tx1">
                <a:alpha val="3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4">
            <a:extLst>
              <a:ext uri="{FF2B5EF4-FFF2-40B4-BE49-F238E27FC236}">
                <a16:creationId xmlns:a16="http://schemas.microsoft.com/office/drawing/2014/main" id="{403F5326-8CA7-4AC9-87BD-39A46F7D4C80}"/>
              </a:ext>
            </a:extLst>
          </p:cNvPr>
          <p:cNvCxnSpPr>
            <a:cxnSpLocks/>
          </p:cNvCxnSpPr>
          <p:nvPr/>
        </p:nvCxnSpPr>
        <p:spPr>
          <a:xfrm>
            <a:off x="6445317" y="1707804"/>
            <a:ext cx="0" cy="3025089"/>
          </a:xfrm>
          <a:prstGeom prst="line">
            <a:avLst/>
          </a:prstGeom>
          <a:ln>
            <a:solidFill>
              <a:schemeClr val="tx1">
                <a:alpha val="3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Espaço Reservado para Texto 7"/>
          <p:cNvSpPr>
            <a:spLocks noGrp="1"/>
          </p:cNvSpPr>
          <p:nvPr>
            <p:ph type="body" idx="4294967295"/>
          </p:nvPr>
        </p:nvSpPr>
        <p:spPr>
          <a:xfrm>
            <a:off x="6402690" y="3038818"/>
            <a:ext cx="1889162" cy="2050495"/>
          </a:xfrm>
          <a:prstGeom prst="rect">
            <a:avLst/>
          </a:prstGeom>
        </p:spPr>
        <p:txBody>
          <a:bodyPr/>
          <a:lstStyle/>
          <a:p>
            <a:pPr marL="0" marR="5080" indent="0" algn="ctr">
              <a:lnSpc>
                <a:spcPct val="100000"/>
              </a:lnSpc>
              <a:buNone/>
            </a:pPr>
            <a:r>
              <a:rPr lang="pt-BR" sz="800" b="1" spc="75" dirty="0" err="1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Corn</a:t>
            </a:r>
            <a:r>
              <a:rPr lang="pt-BR" sz="800" b="1" spc="75" dirty="0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lang="pt-BR" sz="800" b="1" spc="75" dirty="0" err="1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ear</a:t>
            </a:r>
            <a:r>
              <a:rPr lang="pt-BR" sz="800" b="1" spc="75" dirty="0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;</a:t>
            </a:r>
          </a:p>
          <a:p>
            <a:pPr marL="355600" marR="5080" indent="-342900">
              <a:lnSpc>
                <a:spcPct val="100000"/>
              </a:lnSpc>
              <a:buSzPts val="900"/>
              <a:buFont typeface="Arial" panose="020B0604020202020204" pitchFamily="34" charset="0"/>
              <a:buChar char="•"/>
            </a:pPr>
            <a:r>
              <a:rPr lang="pt-BR" sz="800" spc="75" dirty="0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Index </a:t>
            </a:r>
            <a:r>
              <a:rPr lang="pt-BR" sz="800" spc="75" dirty="0" err="1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of</a:t>
            </a:r>
            <a:r>
              <a:rPr lang="pt-BR" sz="800" spc="75" dirty="0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lang="pt-BR" sz="800" spc="75" dirty="0" err="1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granulation</a:t>
            </a:r>
            <a:r>
              <a:rPr lang="pt-BR" sz="800" spc="75" dirty="0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, </a:t>
            </a:r>
            <a:r>
              <a:rPr lang="en-US" sz="800" spc="75" dirty="0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number of grains and the measurements of the corn cobs;</a:t>
            </a:r>
            <a:r>
              <a:rPr lang="pt-BR" sz="800" spc="75" dirty="0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 </a:t>
            </a:r>
          </a:p>
          <a:p>
            <a:pPr marL="355600" marR="5080" indent="-342900">
              <a:lnSpc>
                <a:spcPct val="100000"/>
              </a:lnSpc>
              <a:buSzPts val="900"/>
              <a:buFont typeface="Arial" panose="020B0604020202020204" pitchFamily="34" charset="0"/>
              <a:buChar char="•"/>
            </a:pPr>
            <a:r>
              <a:rPr lang="pt-BR" sz="800" spc="75" dirty="0" err="1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Portable</a:t>
            </a:r>
            <a:r>
              <a:rPr lang="pt-BR" sz="800" spc="75" dirty="0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lang="pt-BR" sz="800" spc="75" dirty="0" err="1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equipment</a:t>
            </a:r>
            <a:r>
              <a:rPr lang="pt-BR" sz="800" spc="75" dirty="0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;</a:t>
            </a:r>
          </a:p>
          <a:p>
            <a:pPr marL="355600" marR="5080" indent="-342900">
              <a:lnSpc>
                <a:spcPct val="100000"/>
              </a:lnSpc>
              <a:buSzPts val="900"/>
              <a:buFont typeface="Arial" panose="020B0604020202020204" pitchFamily="34" charset="0"/>
              <a:buChar char="•"/>
            </a:pPr>
            <a:r>
              <a:rPr lang="pt-BR" sz="800" spc="75" dirty="0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4 </a:t>
            </a:r>
            <a:r>
              <a:rPr lang="pt-BR" sz="800" spc="75" dirty="0" err="1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images</a:t>
            </a:r>
            <a:r>
              <a:rPr lang="pt-BR" sz="800" spc="75" dirty="0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 per </a:t>
            </a:r>
            <a:r>
              <a:rPr lang="pt-BR" sz="800" spc="75" dirty="0" err="1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corn</a:t>
            </a:r>
            <a:r>
              <a:rPr lang="pt-BR" sz="800" spc="75" dirty="0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lang="pt-BR" sz="800" spc="75" dirty="0" err="1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ear</a:t>
            </a:r>
            <a:r>
              <a:rPr lang="pt-BR" sz="800" spc="75" dirty="0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;</a:t>
            </a:r>
          </a:p>
          <a:p>
            <a:pPr marL="355600" marR="5080" indent="-342900">
              <a:lnSpc>
                <a:spcPct val="100000"/>
              </a:lnSpc>
              <a:buSzPts val="900"/>
              <a:buFont typeface="Arial" panose="020B0604020202020204" pitchFamily="34" charset="0"/>
              <a:buChar char="•"/>
            </a:pPr>
            <a:r>
              <a:rPr lang="pt-BR" sz="800" spc="75" dirty="0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IOT / Cloud </a:t>
            </a:r>
            <a:r>
              <a:rPr lang="pt-BR" sz="800" spc="75" dirty="0" err="1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based</a:t>
            </a:r>
            <a:r>
              <a:rPr lang="pt-BR" sz="800" spc="75" dirty="0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 system;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1D96AC51-3253-417E-9A39-E5E7628CD54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4185" y="1148534"/>
            <a:ext cx="2342501" cy="2342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48949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95EEC0E0-B915-44BC-ACDB-4FE9DCC2BB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65408" y="1377461"/>
            <a:ext cx="6613184" cy="3547698"/>
          </a:xfrm>
          <a:prstGeom prst="rect">
            <a:avLst/>
          </a:prstGeom>
        </p:spPr>
      </p:pic>
      <p:sp>
        <p:nvSpPr>
          <p:cNvPr id="12" name="Retângulo 11"/>
          <p:cNvSpPr/>
          <p:nvPr/>
        </p:nvSpPr>
        <p:spPr>
          <a:xfrm>
            <a:off x="4286296" y="372139"/>
            <a:ext cx="674000" cy="467833"/>
          </a:xfrm>
          <a:prstGeom prst="rect">
            <a:avLst/>
          </a:prstGeom>
          <a:solidFill>
            <a:srgbClr val="26D4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sp>
        <p:nvSpPr>
          <p:cNvPr id="13" name="object 16"/>
          <p:cNvSpPr txBox="1"/>
          <p:nvPr/>
        </p:nvSpPr>
        <p:spPr>
          <a:xfrm>
            <a:off x="506017" y="421389"/>
            <a:ext cx="7949482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/>
            <a:r>
              <a:rPr lang="pt-BR" sz="3200" dirty="0">
                <a:solidFill>
                  <a:schemeClr val="bg2">
                    <a:lumMod val="75000"/>
                  </a:schemeClr>
                </a:solidFill>
                <a:latin typeface="Century Gothic" panose="020B0502020202020204" pitchFamily="34" charset="0"/>
                <a:cs typeface="Calibri"/>
              </a:rPr>
              <a:t>White </a:t>
            </a:r>
            <a:r>
              <a:rPr lang="pt-BR" sz="3200" dirty="0" err="1">
                <a:solidFill>
                  <a:schemeClr val="bg2">
                    <a:lumMod val="75000"/>
                  </a:schemeClr>
                </a:solidFill>
                <a:latin typeface="Century Gothic" panose="020B0502020202020204" pitchFamily="34" charset="0"/>
                <a:cs typeface="Calibri"/>
              </a:rPr>
              <a:t>maize</a:t>
            </a:r>
            <a:r>
              <a:rPr lang="pt-BR" sz="3200" dirty="0">
                <a:solidFill>
                  <a:schemeClr val="bg2">
                    <a:lumMod val="75000"/>
                  </a:schemeClr>
                </a:solidFill>
                <a:latin typeface="Century Gothic" panose="020B0502020202020204" pitchFamily="34" charset="0"/>
                <a:cs typeface="Calibri"/>
              </a:rPr>
              <a:t> – original </a:t>
            </a:r>
            <a:r>
              <a:rPr lang="pt-BR" sz="3200" dirty="0" err="1">
                <a:solidFill>
                  <a:schemeClr val="bg2">
                    <a:lumMod val="75000"/>
                  </a:schemeClr>
                </a:solidFill>
                <a:latin typeface="Century Gothic" panose="020B0502020202020204" pitchFamily="34" charset="0"/>
                <a:cs typeface="Calibri"/>
              </a:rPr>
              <a:t>image</a:t>
            </a:r>
            <a:endParaRPr lang="pt-BR" sz="3200" dirty="0">
              <a:solidFill>
                <a:schemeClr val="bg2">
                  <a:lumMod val="75000"/>
                </a:schemeClr>
              </a:solidFill>
              <a:latin typeface="Century Gothic" panose="020B0502020202020204" pitchFamily="34" charset="0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076281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602C313E-0C7C-4866-AE10-A0B8950582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65407" y="1416467"/>
            <a:ext cx="6591249" cy="3535930"/>
          </a:xfrm>
          <a:prstGeom prst="rect">
            <a:avLst/>
          </a:prstGeom>
        </p:spPr>
      </p:pic>
      <p:sp>
        <p:nvSpPr>
          <p:cNvPr id="12" name="Retângulo 11"/>
          <p:cNvSpPr/>
          <p:nvPr/>
        </p:nvSpPr>
        <p:spPr>
          <a:xfrm>
            <a:off x="4286296" y="372139"/>
            <a:ext cx="674000" cy="467833"/>
          </a:xfrm>
          <a:prstGeom prst="rect">
            <a:avLst/>
          </a:prstGeom>
          <a:solidFill>
            <a:srgbClr val="26D4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sp>
        <p:nvSpPr>
          <p:cNvPr id="13" name="object 16"/>
          <p:cNvSpPr txBox="1"/>
          <p:nvPr/>
        </p:nvSpPr>
        <p:spPr>
          <a:xfrm>
            <a:off x="506017" y="191102"/>
            <a:ext cx="7949482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/>
            <a:r>
              <a:rPr lang="en-US" sz="3200" dirty="0" err="1">
                <a:solidFill>
                  <a:schemeClr val="bg2">
                    <a:lumMod val="75000"/>
                  </a:schemeClr>
                </a:solidFill>
                <a:latin typeface="Century Gothic" panose="020B0502020202020204" pitchFamily="34" charset="0"/>
                <a:cs typeface="Calibri"/>
              </a:rPr>
              <a:t>Analysed</a:t>
            </a:r>
            <a:r>
              <a:rPr lang="en-US" sz="3200" dirty="0">
                <a:solidFill>
                  <a:schemeClr val="bg2">
                    <a:lumMod val="75000"/>
                  </a:schemeClr>
                </a:solidFill>
                <a:latin typeface="Century Gothic" panose="020B0502020202020204" pitchFamily="34" charset="0"/>
                <a:cs typeface="Calibri"/>
              </a:rPr>
              <a:t> grains (top and bottom images)</a:t>
            </a:r>
          </a:p>
        </p:txBody>
      </p:sp>
    </p:spTree>
    <p:extLst>
      <p:ext uri="{BB962C8B-B14F-4D97-AF65-F5344CB8AC3E}">
        <p14:creationId xmlns:p14="http://schemas.microsoft.com/office/powerpoint/2010/main" val="310641515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AE1D6CE3-178B-4A08-B819-18D0C8BA5E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1779" y="1416467"/>
            <a:ext cx="6678507" cy="3582741"/>
          </a:xfrm>
          <a:prstGeom prst="rect">
            <a:avLst/>
          </a:prstGeom>
        </p:spPr>
      </p:pic>
      <p:sp>
        <p:nvSpPr>
          <p:cNvPr id="12" name="Retângulo 11"/>
          <p:cNvSpPr/>
          <p:nvPr/>
        </p:nvSpPr>
        <p:spPr>
          <a:xfrm>
            <a:off x="4286296" y="372139"/>
            <a:ext cx="674000" cy="467833"/>
          </a:xfrm>
          <a:prstGeom prst="rect">
            <a:avLst/>
          </a:prstGeom>
          <a:solidFill>
            <a:srgbClr val="26D4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sp>
        <p:nvSpPr>
          <p:cNvPr id="13" name="object 16"/>
          <p:cNvSpPr txBox="1"/>
          <p:nvPr/>
        </p:nvSpPr>
        <p:spPr>
          <a:xfrm>
            <a:off x="506017" y="191102"/>
            <a:ext cx="7949482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/>
            <a:r>
              <a:rPr lang="en-US" sz="3200" dirty="0">
                <a:solidFill>
                  <a:schemeClr val="bg2">
                    <a:lumMod val="75000"/>
                  </a:schemeClr>
                </a:solidFill>
                <a:latin typeface="Century Gothic" panose="020B0502020202020204" pitchFamily="34" charset="0"/>
                <a:cs typeface="Calibri"/>
              </a:rPr>
              <a:t>Filtering by defects (sour)</a:t>
            </a:r>
          </a:p>
        </p:txBody>
      </p:sp>
    </p:spTree>
    <p:extLst>
      <p:ext uri="{BB962C8B-B14F-4D97-AF65-F5344CB8AC3E}">
        <p14:creationId xmlns:p14="http://schemas.microsoft.com/office/powerpoint/2010/main" val="124758270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ângulo 11"/>
          <p:cNvSpPr/>
          <p:nvPr/>
        </p:nvSpPr>
        <p:spPr>
          <a:xfrm>
            <a:off x="4286296" y="372139"/>
            <a:ext cx="674000" cy="467833"/>
          </a:xfrm>
          <a:prstGeom prst="rect">
            <a:avLst/>
          </a:prstGeom>
          <a:solidFill>
            <a:srgbClr val="26D4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sp>
        <p:nvSpPr>
          <p:cNvPr id="13" name="object 16"/>
          <p:cNvSpPr txBox="1"/>
          <p:nvPr/>
        </p:nvSpPr>
        <p:spPr>
          <a:xfrm>
            <a:off x="506017" y="191102"/>
            <a:ext cx="7949482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/>
            <a:r>
              <a:rPr lang="en-US" sz="3200" dirty="0">
                <a:solidFill>
                  <a:schemeClr val="bg2">
                    <a:lumMod val="75000"/>
                  </a:schemeClr>
                </a:solidFill>
                <a:latin typeface="Century Gothic" panose="020B0502020202020204" pitchFamily="34" charset="0"/>
                <a:cs typeface="Calibri"/>
              </a:rPr>
              <a:t>Grading report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4BF49623-AE16-456B-AFA5-472A509965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16114" y="1322839"/>
            <a:ext cx="5511773" cy="3820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45534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object 16"/>
          <p:cNvSpPr txBox="1"/>
          <p:nvPr/>
        </p:nvSpPr>
        <p:spPr>
          <a:xfrm>
            <a:off x="-8747" y="1894642"/>
            <a:ext cx="2555522" cy="13542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/>
            <a:r>
              <a:rPr lang="pt-BR" sz="3200" dirty="0" err="1">
                <a:solidFill>
                  <a:schemeClr val="bg2">
                    <a:lumMod val="75000"/>
                  </a:schemeClr>
                </a:solidFill>
                <a:latin typeface="Century Gothic" panose="020B0502020202020204" pitchFamily="34" charset="0"/>
                <a:cs typeface="Calibri"/>
              </a:rPr>
              <a:t>Africa</a:t>
            </a:r>
            <a:r>
              <a:rPr lang="pt-BR" sz="3200" dirty="0">
                <a:solidFill>
                  <a:schemeClr val="bg2">
                    <a:lumMod val="75000"/>
                  </a:schemeClr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lang="pt-BR" sz="3200" dirty="0" err="1">
                <a:solidFill>
                  <a:schemeClr val="bg2">
                    <a:lumMod val="75000"/>
                  </a:schemeClr>
                </a:solidFill>
                <a:latin typeface="Century Gothic" panose="020B0502020202020204" pitchFamily="34" charset="0"/>
                <a:cs typeface="Calibri"/>
              </a:rPr>
              <a:t>representant</a:t>
            </a:r>
            <a:r>
              <a:rPr lang="pt-BR" sz="3200" dirty="0">
                <a:solidFill>
                  <a:schemeClr val="bg2">
                    <a:lumMod val="75000"/>
                  </a:schemeClr>
                </a:solidFill>
                <a:latin typeface="Century Gothic" panose="020B0502020202020204" pitchFamily="34" charset="0"/>
                <a:cs typeface="Calibri"/>
              </a:rPr>
              <a:t> </a:t>
            </a:r>
          </a:p>
          <a:p>
            <a:pPr marL="12700" algn="ctr"/>
            <a:endParaRPr lang="pt-BR" sz="2400" dirty="0">
              <a:solidFill>
                <a:schemeClr val="bg2">
                  <a:lumMod val="75000"/>
                </a:schemeClr>
              </a:solidFill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FEE08503-BB75-4495-9F9A-02BDEA8D82DF}"/>
              </a:ext>
            </a:extLst>
          </p:cNvPr>
          <p:cNvSpPr txBox="1"/>
          <p:nvPr/>
        </p:nvSpPr>
        <p:spPr>
          <a:xfrm>
            <a:off x="2932853" y="1273385"/>
            <a:ext cx="607568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/>
              <a:t>Callie Kruger</a:t>
            </a:r>
          </a:p>
          <a:p>
            <a:r>
              <a:rPr lang="en-US" sz="1800" dirty="0"/>
              <a:t>Agri Manager Southern Africa</a:t>
            </a:r>
          </a:p>
          <a:p>
            <a:r>
              <a:rPr lang="en-US" sz="1800" dirty="0"/>
              <a:t>Mobile : +27(0)81 457 0680</a:t>
            </a:r>
          </a:p>
          <a:p>
            <a:r>
              <a:rPr lang="en-US" sz="1800" dirty="0"/>
              <a:t>Bureau Veritas Testing and Inspections Pty Limited SA</a:t>
            </a:r>
          </a:p>
          <a:p>
            <a:r>
              <a:rPr lang="en-US" sz="1800" dirty="0"/>
              <a:t>495 Summit Road, Summit Office Park</a:t>
            </a:r>
          </a:p>
          <a:p>
            <a:r>
              <a:rPr lang="en-US" sz="1800" dirty="0"/>
              <a:t>Morningside, Sandton</a:t>
            </a:r>
          </a:p>
          <a:p>
            <a:endParaRPr lang="en-US" sz="1800" dirty="0"/>
          </a:p>
          <a:p>
            <a:r>
              <a:rPr lang="en-US" sz="1800" dirty="0"/>
              <a:t>callie.kruger@bureauveritas.com</a:t>
            </a:r>
          </a:p>
          <a:p>
            <a:endParaRPr lang="pt-BR" sz="1800" dirty="0"/>
          </a:p>
          <a:p>
            <a:r>
              <a:rPr lang="pt-BR" sz="1800" dirty="0"/>
              <a:t>www.tbit.com.br</a:t>
            </a:r>
          </a:p>
        </p:txBody>
      </p:sp>
    </p:spTree>
    <p:extLst>
      <p:ext uri="{BB962C8B-B14F-4D97-AF65-F5344CB8AC3E}">
        <p14:creationId xmlns:p14="http://schemas.microsoft.com/office/powerpoint/2010/main" val="26136686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>
            <a:extLst>
              <a:ext uri="{FF2B5EF4-FFF2-40B4-BE49-F238E27FC236}">
                <a16:creationId xmlns:a16="http://schemas.microsoft.com/office/drawing/2014/main" id="{CF97C892-A668-4919-9E75-B38D57FD3F8C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3" name="Group 2"/>
          <p:cNvGrpSpPr/>
          <p:nvPr/>
        </p:nvGrpSpPr>
        <p:grpSpPr>
          <a:xfrm>
            <a:off x="0" y="203199"/>
            <a:ext cx="3254189" cy="456011"/>
            <a:chOff x="-446513" y="203199"/>
            <a:chExt cx="1838376" cy="330200"/>
          </a:xfrm>
        </p:grpSpPr>
        <p:grpSp>
          <p:nvGrpSpPr>
            <p:cNvPr id="4" name="Group 3"/>
            <p:cNvGrpSpPr/>
            <p:nvPr/>
          </p:nvGrpSpPr>
          <p:grpSpPr>
            <a:xfrm>
              <a:off x="-446513" y="203199"/>
              <a:ext cx="1838376" cy="330200"/>
              <a:chOff x="42522" y="2590447"/>
              <a:chExt cx="3422196" cy="812360"/>
            </a:xfrm>
            <a:solidFill>
              <a:srgbClr val="B0002D"/>
            </a:solidFill>
          </p:grpSpPr>
          <p:sp>
            <p:nvSpPr>
              <p:cNvPr id="6" name="Rounded Rectangle 12"/>
              <p:cNvSpPr/>
              <p:nvPr/>
            </p:nvSpPr>
            <p:spPr bwMode="auto">
              <a:xfrm>
                <a:off x="2671517" y="2590447"/>
                <a:ext cx="793201" cy="812360"/>
              </a:xfrm>
              <a:custGeom>
                <a:avLst/>
                <a:gdLst>
                  <a:gd name="connsiteX0" fmla="*/ 0 w 640802"/>
                  <a:gd name="connsiteY0" fmla="*/ 106802 h 881062"/>
                  <a:gd name="connsiteX1" fmla="*/ 106802 w 640802"/>
                  <a:gd name="connsiteY1" fmla="*/ 0 h 881062"/>
                  <a:gd name="connsiteX2" fmla="*/ 534000 w 640802"/>
                  <a:gd name="connsiteY2" fmla="*/ 0 h 881062"/>
                  <a:gd name="connsiteX3" fmla="*/ 640802 w 640802"/>
                  <a:gd name="connsiteY3" fmla="*/ 106802 h 881062"/>
                  <a:gd name="connsiteX4" fmla="*/ 640802 w 640802"/>
                  <a:gd name="connsiteY4" fmla="*/ 774260 h 881062"/>
                  <a:gd name="connsiteX5" fmla="*/ 534000 w 640802"/>
                  <a:gd name="connsiteY5" fmla="*/ 881062 h 881062"/>
                  <a:gd name="connsiteX6" fmla="*/ 106802 w 640802"/>
                  <a:gd name="connsiteY6" fmla="*/ 881062 h 881062"/>
                  <a:gd name="connsiteX7" fmla="*/ 0 w 640802"/>
                  <a:gd name="connsiteY7" fmla="*/ 774260 h 881062"/>
                  <a:gd name="connsiteX8" fmla="*/ 0 w 640802"/>
                  <a:gd name="connsiteY8" fmla="*/ 106802 h 881062"/>
                  <a:gd name="connsiteX0" fmla="*/ 0 w 800345"/>
                  <a:gd name="connsiteY0" fmla="*/ 106802 h 881062"/>
                  <a:gd name="connsiteX1" fmla="*/ 106802 w 800345"/>
                  <a:gd name="connsiteY1" fmla="*/ 0 h 881062"/>
                  <a:gd name="connsiteX2" fmla="*/ 534000 w 800345"/>
                  <a:gd name="connsiteY2" fmla="*/ 0 h 881062"/>
                  <a:gd name="connsiteX3" fmla="*/ 800345 w 800345"/>
                  <a:gd name="connsiteY3" fmla="*/ 73465 h 881062"/>
                  <a:gd name="connsiteX4" fmla="*/ 640802 w 800345"/>
                  <a:gd name="connsiteY4" fmla="*/ 774260 h 881062"/>
                  <a:gd name="connsiteX5" fmla="*/ 534000 w 800345"/>
                  <a:gd name="connsiteY5" fmla="*/ 881062 h 881062"/>
                  <a:gd name="connsiteX6" fmla="*/ 106802 w 800345"/>
                  <a:gd name="connsiteY6" fmla="*/ 881062 h 881062"/>
                  <a:gd name="connsiteX7" fmla="*/ 0 w 800345"/>
                  <a:gd name="connsiteY7" fmla="*/ 774260 h 881062"/>
                  <a:gd name="connsiteX8" fmla="*/ 0 w 800345"/>
                  <a:gd name="connsiteY8" fmla="*/ 106802 h 881062"/>
                  <a:gd name="connsiteX0" fmla="*/ 0 w 800345"/>
                  <a:gd name="connsiteY0" fmla="*/ 106802 h 881062"/>
                  <a:gd name="connsiteX1" fmla="*/ 106802 w 800345"/>
                  <a:gd name="connsiteY1" fmla="*/ 0 h 881062"/>
                  <a:gd name="connsiteX2" fmla="*/ 534000 w 800345"/>
                  <a:gd name="connsiteY2" fmla="*/ 0 h 881062"/>
                  <a:gd name="connsiteX3" fmla="*/ 800345 w 800345"/>
                  <a:gd name="connsiteY3" fmla="*/ 73465 h 881062"/>
                  <a:gd name="connsiteX4" fmla="*/ 640802 w 800345"/>
                  <a:gd name="connsiteY4" fmla="*/ 774260 h 881062"/>
                  <a:gd name="connsiteX5" fmla="*/ 534000 w 800345"/>
                  <a:gd name="connsiteY5" fmla="*/ 881062 h 881062"/>
                  <a:gd name="connsiteX6" fmla="*/ 106802 w 800345"/>
                  <a:gd name="connsiteY6" fmla="*/ 881062 h 881062"/>
                  <a:gd name="connsiteX7" fmla="*/ 0 w 800345"/>
                  <a:gd name="connsiteY7" fmla="*/ 774260 h 881062"/>
                  <a:gd name="connsiteX8" fmla="*/ 0 w 800345"/>
                  <a:gd name="connsiteY8" fmla="*/ 106802 h 881062"/>
                  <a:gd name="connsiteX0" fmla="*/ 0 w 800345"/>
                  <a:gd name="connsiteY0" fmla="*/ 106802 h 881062"/>
                  <a:gd name="connsiteX1" fmla="*/ 106802 w 800345"/>
                  <a:gd name="connsiteY1" fmla="*/ 0 h 881062"/>
                  <a:gd name="connsiteX2" fmla="*/ 534000 w 800345"/>
                  <a:gd name="connsiteY2" fmla="*/ 0 h 881062"/>
                  <a:gd name="connsiteX3" fmla="*/ 800345 w 800345"/>
                  <a:gd name="connsiteY3" fmla="*/ 73465 h 881062"/>
                  <a:gd name="connsiteX4" fmla="*/ 669377 w 800345"/>
                  <a:gd name="connsiteY4" fmla="*/ 774260 h 881062"/>
                  <a:gd name="connsiteX5" fmla="*/ 534000 w 800345"/>
                  <a:gd name="connsiteY5" fmla="*/ 881062 h 881062"/>
                  <a:gd name="connsiteX6" fmla="*/ 106802 w 800345"/>
                  <a:gd name="connsiteY6" fmla="*/ 881062 h 881062"/>
                  <a:gd name="connsiteX7" fmla="*/ 0 w 800345"/>
                  <a:gd name="connsiteY7" fmla="*/ 774260 h 881062"/>
                  <a:gd name="connsiteX8" fmla="*/ 0 w 800345"/>
                  <a:gd name="connsiteY8" fmla="*/ 106802 h 881062"/>
                  <a:gd name="connsiteX0" fmla="*/ 0 w 800345"/>
                  <a:gd name="connsiteY0" fmla="*/ 106802 h 881062"/>
                  <a:gd name="connsiteX1" fmla="*/ 106802 w 800345"/>
                  <a:gd name="connsiteY1" fmla="*/ 0 h 881062"/>
                  <a:gd name="connsiteX2" fmla="*/ 534000 w 800345"/>
                  <a:gd name="connsiteY2" fmla="*/ 0 h 881062"/>
                  <a:gd name="connsiteX3" fmla="*/ 800345 w 800345"/>
                  <a:gd name="connsiteY3" fmla="*/ 73465 h 881062"/>
                  <a:gd name="connsiteX4" fmla="*/ 669377 w 800345"/>
                  <a:gd name="connsiteY4" fmla="*/ 774260 h 881062"/>
                  <a:gd name="connsiteX5" fmla="*/ 534000 w 800345"/>
                  <a:gd name="connsiteY5" fmla="*/ 881062 h 881062"/>
                  <a:gd name="connsiteX6" fmla="*/ 106802 w 800345"/>
                  <a:gd name="connsiteY6" fmla="*/ 881062 h 881062"/>
                  <a:gd name="connsiteX7" fmla="*/ 0 w 800345"/>
                  <a:gd name="connsiteY7" fmla="*/ 774260 h 881062"/>
                  <a:gd name="connsiteX8" fmla="*/ 0 w 800345"/>
                  <a:gd name="connsiteY8" fmla="*/ 106802 h 881062"/>
                  <a:gd name="connsiteX0" fmla="*/ 0 w 800345"/>
                  <a:gd name="connsiteY0" fmla="*/ 106802 h 881062"/>
                  <a:gd name="connsiteX1" fmla="*/ 106802 w 800345"/>
                  <a:gd name="connsiteY1" fmla="*/ 0 h 881062"/>
                  <a:gd name="connsiteX2" fmla="*/ 534000 w 800345"/>
                  <a:gd name="connsiteY2" fmla="*/ 0 h 881062"/>
                  <a:gd name="connsiteX3" fmla="*/ 800345 w 800345"/>
                  <a:gd name="connsiteY3" fmla="*/ 73465 h 881062"/>
                  <a:gd name="connsiteX4" fmla="*/ 669377 w 800345"/>
                  <a:gd name="connsiteY4" fmla="*/ 774260 h 881062"/>
                  <a:gd name="connsiteX5" fmla="*/ 534000 w 800345"/>
                  <a:gd name="connsiteY5" fmla="*/ 881062 h 881062"/>
                  <a:gd name="connsiteX6" fmla="*/ 106802 w 800345"/>
                  <a:gd name="connsiteY6" fmla="*/ 881062 h 881062"/>
                  <a:gd name="connsiteX7" fmla="*/ 0 w 800345"/>
                  <a:gd name="connsiteY7" fmla="*/ 774260 h 881062"/>
                  <a:gd name="connsiteX8" fmla="*/ 0 w 800345"/>
                  <a:gd name="connsiteY8" fmla="*/ 106802 h 881062"/>
                  <a:gd name="connsiteX0" fmla="*/ 0 w 800345"/>
                  <a:gd name="connsiteY0" fmla="*/ 106802 h 881062"/>
                  <a:gd name="connsiteX1" fmla="*/ 106802 w 800345"/>
                  <a:gd name="connsiteY1" fmla="*/ 0 h 881062"/>
                  <a:gd name="connsiteX2" fmla="*/ 534000 w 800345"/>
                  <a:gd name="connsiteY2" fmla="*/ 0 h 881062"/>
                  <a:gd name="connsiteX3" fmla="*/ 800345 w 800345"/>
                  <a:gd name="connsiteY3" fmla="*/ 73465 h 881062"/>
                  <a:gd name="connsiteX4" fmla="*/ 669377 w 800345"/>
                  <a:gd name="connsiteY4" fmla="*/ 774260 h 881062"/>
                  <a:gd name="connsiteX5" fmla="*/ 534000 w 800345"/>
                  <a:gd name="connsiteY5" fmla="*/ 881062 h 881062"/>
                  <a:gd name="connsiteX6" fmla="*/ 106802 w 800345"/>
                  <a:gd name="connsiteY6" fmla="*/ 881062 h 881062"/>
                  <a:gd name="connsiteX7" fmla="*/ 0 w 800345"/>
                  <a:gd name="connsiteY7" fmla="*/ 774260 h 881062"/>
                  <a:gd name="connsiteX8" fmla="*/ 0 w 800345"/>
                  <a:gd name="connsiteY8" fmla="*/ 106802 h 881062"/>
                  <a:gd name="connsiteX0" fmla="*/ 0 w 800345"/>
                  <a:gd name="connsiteY0" fmla="*/ 106802 h 881062"/>
                  <a:gd name="connsiteX1" fmla="*/ 106802 w 800345"/>
                  <a:gd name="connsiteY1" fmla="*/ 0 h 881062"/>
                  <a:gd name="connsiteX2" fmla="*/ 800345 w 800345"/>
                  <a:gd name="connsiteY2" fmla="*/ 73465 h 881062"/>
                  <a:gd name="connsiteX3" fmla="*/ 669377 w 800345"/>
                  <a:gd name="connsiteY3" fmla="*/ 774260 h 881062"/>
                  <a:gd name="connsiteX4" fmla="*/ 534000 w 800345"/>
                  <a:gd name="connsiteY4" fmla="*/ 881062 h 881062"/>
                  <a:gd name="connsiteX5" fmla="*/ 106802 w 800345"/>
                  <a:gd name="connsiteY5" fmla="*/ 881062 h 881062"/>
                  <a:gd name="connsiteX6" fmla="*/ 0 w 800345"/>
                  <a:gd name="connsiteY6" fmla="*/ 774260 h 881062"/>
                  <a:gd name="connsiteX7" fmla="*/ 0 w 800345"/>
                  <a:gd name="connsiteY7" fmla="*/ 106802 h 881062"/>
                  <a:gd name="connsiteX0" fmla="*/ 0 w 800345"/>
                  <a:gd name="connsiteY0" fmla="*/ 103706 h 877966"/>
                  <a:gd name="connsiteX1" fmla="*/ 800345 w 800345"/>
                  <a:gd name="connsiteY1" fmla="*/ 70369 h 877966"/>
                  <a:gd name="connsiteX2" fmla="*/ 669377 w 800345"/>
                  <a:gd name="connsiteY2" fmla="*/ 771164 h 877966"/>
                  <a:gd name="connsiteX3" fmla="*/ 534000 w 800345"/>
                  <a:gd name="connsiteY3" fmla="*/ 877966 h 877966"/>
                  <a:gd name="connsiteX4" fmla="*/ 106802 w 800345"/>
                  <a:gd name="connsiteY4" fmla="*/ 877966 h 877966"/>
                  <a:gd name="connsiteX5" fmla="*/ 0 w 800345"/>
                  <a:gd name="connsiteY5" fmla="*/ 771164 h 877966"/>
                  <a:gd name="connsiteX6" fmla="*/ 0 w 800345"/>
                  <a:gd name="connsiteY6" fmla="*/ 103706 h 877966"/>
                  <a:gd name="connsiteX0" fmla="*/ 0 w 800345"/>
                  <a:gd name="connsiteY0" fmla="*/ 33337 h 807597"/>
                  <a:gd name="connsiteX1" fmla="*/ 800345 w 800345"/>
                  <a:gd name="connsiteY1" fmla="*/ 0 h 807597"/>
                  <a:gd name="connsiteX2" fmla="*/ 669377 w 800345"/>
                  <a:gd name="connsiteY2" fmla="*/ 700795 h 807597"/>
                  <a:gd name="connsiteX3" fmla="*/ 534000 w 800345"/>
                  <a:gd name="connsiteY3" fmla="*/ 807597 h 807597"/>
                  <a:gd name="connsiteX4" fmla="*/ 106802 w 800345"/>
                  <a:gd name="connsiteY4" fmla="*/ 807597 h 807597"/>
                  <a:gd name="connsiteX5" fmla="*/ 0 w 800345"/>
                  <a:gd name="connsiteY5" fmla="*/ 700795 h 807597"/>
                  <a:gd name="connsiteX6" fmla="*/ 0 w 800345"/>
                  <a:gd name="connsiteY6" fmla="*/ 33337 h 807597"/>
                  <a:gd name="connsiteX0" fmla="*/ 7144 w 800345"/>
                  <a:gd name="connsiteY0" fmla="*/ 0 h 812360"/>
                  <a:gd name="connsiteX1" fmla="*/ 800345 w 800345"/>
                  <a:gd name="connsiteY1" fmla="*/ 4763 h 812360"/>
                  <a:gd name="connsiteX2" fmla="*/ 669377 w 800345"/>
                  <a:gd name="connsiteY2" fmla="*/ 705558 h 812360"/>
                  <a:gd name="connsiteX3" fmla="*/ 534000 w 800345"/>
                  <a:gd name="connsiteY3" fmla="*/ 812360 h 812360"/>
                  <a:gd name="connsiteX4" fmla="*/ 106802 w 800345"/>
                  <a:gd name="connsiteY4" fmla="*/ 812360 h 812360"/>
                  <a:gd name="connsiteX5" fmla="*/ 0 w 800345"/>
                  <a:gd name="connsiteY5" fmla="*/ 705558 h 812360"/>
                  <a:gd name="connsiteX6" fmla="*/ 7144 w 800345"/>
                  <a:gd name="connsiteY6" fmla="*/ 0 h 812360"/>
                  <a:gd name="connsiteX0" fmla="*/ 46153 w 839354"/>
                  <a:gd name="connsiteY0" fmla="*/ 0 h 812360"/>
                  <a:gd name="connsiteX1" fmla="*/ 839354 w 839354"/>
                  <a:gd name="connsiteY1" fmla="*/ 4763 h 812360"/>
                  <a:gd name="connsiteX2" fmla="*/ 708386 w 839354"/>
                  <a:gd name="connsiteY2" fmla="*/ 705558 h 812360"/>
                  <a:gd name="connsiteX3" fmla="*/ 573009 w 839354"/>
                  <a:gd name="connsiteY3" fmla="*/ 812360 h 812360"/>
                  <a:gd name="connsiteX4" fmla="*/ 145811 w 839354"/>
                  <a:gd name="connsiteY4" fmla="*/ 812360 h 812360"/>
                  <a:gd name="connsiteX5" fmla="*/ 46153 w 839354"/>
                  <a:gd name="connsiteY5" fmla="*/ 0 h 812360"/>
                  <a:gd name="connsiteX0" fmla="*/ 0 w 793201"/>
                  <a:gd name="connsiteY0" fmla="*/ 0 h 812360"/>
                  <a:gd name="connsiteX1" fmla="*/ 793201 w 793201"/>
                  <a:gd name="connsiteY1" fmla="*/ 4763 h 812360"/>
                  <a:gd name="connsiteX2" fmla="*/ 662233 w 793201"/>
                  <a:gd name="connsiteY2" fmla="*/ 705558 h 812360"/>
                  <a:gd name="connsiteX3" fmla="*/ 526856 w 793201"/>
                  <a:gd name="connsiteY3" fmla="*/ 812360 h 812360"/>
                  <a:gd name="connsiteX4" fmla="*/ 99658 w 793201"/>
                  <a:gd name="connsiteY4" fmla="*/ 812360 h 812360"/>
                  <a:gd name="connsiteX5" fmla="*/ 0 w 793201"/>
                  <a:gd name="connsiteY5" fmla="*/ 0 h 8123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93201" h="812360">
                    <a:moveTo>
                      <a:pt x="0" y="0"/>
                    </a:moveTo>
                    <a:lnTo>
                      <a:pt x="793201" y="4763"/>
                    </a:lnTo>
                    <a:lnTo>
                      <a:pt x="662233" y="705558"/>
                    </a:lnTo>
                    <a:cubicBezTo>
                      <a:pt x="640801" y="759781"/>
                      <a:pt x="585841" y="812360"/>
                      <a:pt x="526856" y="812360"/>
                    </a:cubicBezTo>
                    <a:lnTo>
                      <a:pt x="99658" y="8123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r" fontAlgn="base">
                  <a:lnSpc>
                    <a:spcPct val="90000"/>
                  </a:lnSpc>
                  <a:spcBef>
                    <a:spcPct val="70000"/>
                  </a:spcBef>
                  <a:spcAft>
                    <a:spcPct val="0"/>
                  </a:spcAft>
                  <a:buFontTx/>
                  <a:buChar char="•"/>
                </a:pPr>
                <a:endParaRPr lang="en-AU" sz="1200" b="1" dirty="0">
                  <a:solidFill>
                    <a:srgbClr val="19324B"/>
                  </a:solidFill>
                </a:endParaRPr>
              </a:p>
            </p:txBody>
          </p:sp>
          <p:sp>
            <p:nvSpPr>
              <p:cNvPr id="7" name="Rectangle 6"/>
              <p:cNvSpPr/>
              <p:nvPr/>
            </p:nvSpPr>
            <p:spPr bwMode="auto">
              <a:xfrm>
                <a:off x="42522" y="2593180"/>
                <a:ext cx="3422195" cy="809627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r" fontAlgn="base">
                  <a:lnSpc>
                    <a:spcPct val="90000"/>
                  </a:lnSpc>
                  <a:spcBef>
                    <a:spcPct val="70000"/>
                  </a:spcBef>
                  <a:spcAft>
                    <a:spcPct val="0"/>
                  </a:spcAft>
                  <a:buFontTx/>
                  <a:buChar char="•"/>
                </a:pPr>
                <a:endParaRPr lang="en-AU" sz="1200" b="1" dirty="0">
                  <a:solidFill>
                    <a:srgbClr val="19324B"/>
                  </a:solidFill>
                </a:endParaRPr>
              </a:p>
            </p:txBody>
          </p:sp>
        </p:grpSp>
        <p:sp>
          <p:nvSpPr>
            <p:cNvPr id="5" name="TextBox 4"/>
            <p:cNvSpPr txBox="1"/>
            <p:nvPr/>
          </p:nvSpPr>
          <p:spPr>
            <a:xfrm>
              <a:off x="-436778" y="247720"/>
              <a:ext cx="1788126" cy="2273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fontAlgn="base">
                <a:lnSpc>
                  <a:spcPct val="90000"/>
                </a:lnSpc>
                <a:spcBef>
                  <a:spcPct val="70000"/>
                </a:spcBef>
                <a:spcAft>
                  <a:spcPct val="0"/>
                </a:spcAft>
              </a:pPr>
              <a:r>
                <a:rPr lang="en-AU" sz="1600" dirty="0">
                  <a:solidFill>
                    <a:srgbClr val="FFFFFF"/>
                  </a:solidFill>
                </a:rPr>
                <a:t>PORTFOLIO OF BUSINESSES</a:t>
              </a:r>
              <a:endParaRPr lang="en-AU" sz="1800" dirty="0">
                <a:solidFill>
                  <a:srgbClr val="FFFFFF"/>
                </a:solidFill>
              </a:endParaRPr>
            </a:p>
          </p:txBody>
        </p:sp>
      </p:grpSp>
      <p:graphicFrame>
        <p:nvGraphicFramePr>
          <p:cNvPr id="33" name="Tableau 1"/>
          <p:cNvGraphicFramePr>
            <a:graphicFrameLocks noGrp="1"/>
          </p:cNvGraphicFramePr>
          <p:nvPr/>
        </p:nvGraphicFramePr>
        <p:xfrm>
          <a:off x="252413" y="813922"/>
          <a:ext cx="8539162" cy="4186620"/>
        </p:xfrm>
        <a:graphic>
          <a:graphicData uri="http://schemas.openxmlformats.org/drawingml/2006/table">
            <a:tbl>
              <a:tblPr/>
              <a:tblGrid>
                <a:gridCol w="29876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5514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25780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fr-FR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Certification</a:t>
                      </a:r>
                      <a:endParaRPr kumimoji="0" lang="en-US" altLang="fr-FR" sz="15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388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B0002D"/>
                        </a:buClr>
                        <a:buSzPct val="85000"/>
                        <a:buFont typeface="Arial" pitchFamily="34" charset="0"/>
                        <a:buNone/>
                        <a:tabLst/>
                      </a:pPr>
                      <a:r>
                        <a:rPr kumimoji="0" lang="en-US" altLang="fr-F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9324B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Certification of QHSE management systems and second party auditing services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5780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fr-FR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Commodities</a:t>
                      </a:r>
                      <a:endParaRPr kumimoji="0" lang="en-US" altLang="fr-FR" sz="15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179388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B0002D"/>
                        </a:buClr>
                        <a:buSzPct val="85000"/>
                        <a:buFont typeface="Arial" pitchFamily="34" charset="0"/>
                        <a:buNone/>
                        <a:tabLst/>
                      </a:pPr>
                      <a:r>
                        <a:rPr kumimoji="0" lang="en-US" altLang="fr-FR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19324B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+mn-cs"/>
                        </a:rPr>
                        <a:t>Commodities inspection and testing: oil &amp; petrochemicals, metals &amp; minerals, agriculture</a:t>
                      </a:r>
                      <a:endParaRPr kumimoji="0" lang="en-GB" altLang="fr-FR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19324B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+mn-cs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fr-FR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Construction</a:t>
                      </a:r>
                      <a:endParaRPr kumimoji="0" lang="en-US" altLang="fr-FR" sz="15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388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B0002D"/>
                        </a:buClr>
                        <a:buSzPct val="85000"/>
                        <a:buFont typeface="Arial" pitchFamily="34" charset="0"/>
                        <a:buNone/>
                        <a:tabLst/>
                      </a:pPr>
                      <a:r>
                        <a:rPr kumimoji="0" lang="en-US" altLang="fr-FR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19324B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+mn-cs"/>
                        </a:rPr>
                        <a:t>Conformity assessment of buildings and infrastructures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fr-FR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Consumer Products</a:t>
                      </a:r>
                      <a:endParaRPr kumimoji="0" lang="en-US" altLang="fr-FR" sz="15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388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B0002D"/>
                        </a:buClr>
                        <a:buSzPct val="85000"/>
                        <a:buFont typeface="Arial" pitchFamily="34" charset="0"/>
                        <a:buNone/>
                        <a:tabLst/>
                      </a:pPr>
                      <a:r>
                        <a:rPr kumimoji="0" lang="en-US" altLang="fr-FR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19324B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+mn-cs"/>
                        </a:rPr>
                        <a:t>Testing, inspection and certification of consumer goods 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fr-FR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Government Services &amp; International Trade</a:t>
                      </a:r>
                      <a:endParaRPr kumimoji="0" lang="en-US" altLang="fr-FR" sz="15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179388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B0002D"/>
                        </a:buClr>
                        <a:buSzPct val="85000"/>
                        <a:buFont typeface="Arial" pitchFamily="34" charset="0"/>
                        <a:buNone/>
                        <a:tabLst/>
                      </a:pPr>
                      <a:r>
                        <a:rPr kumimoji="0" lang="en-US" altLang="fr-FR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19324B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+mn-cs"/>
                        </a:rPr>
                        <a:t>Trade facilitation services</a:t>
                      </a:r>
                      <a:endParaRPr kumimoji="0" lang="en-GB" altLang="fr-FR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19324B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+mn-cs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25780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fr-FR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Industry</a:t>
                      </a:r>
                      <a:endParaRPr kumimoji="0" lang="en-US" altLang="fr-FR" sz="15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16055"/>
                    </a:solidFill>
                  </a:tcPr>
                </a:tc>
                <a:tc>
                  <a:txBody>
                    <a:bodyPr/>
                    <a:lstStyle/>
                    <a:p>
                      <a:pPr marL="179388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B0002D"/>
                        </a:buClr>
                        <a:buSzPct val="85000"/>
                        <a:buFont typeface="Arial" pitchFamily="34" charset="0"/>
                        <a:buNone/>
                        <a:tabLst/>
                      </a:pPr>
                      <a:r>
                        <a:rPr kumimoji="0" lang="en-US" altLang="fr-FR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19324B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+mn-cs"/>
                        </a:rPr>
                        <a:t>Risk management, quality assurance, quality control and asset integrity management of facilities and equipment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fr-FR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In-Service Inspection &amp; Verification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3922A"/>
                    </a:solidFill>
                  </a:tcPr>
                </a:tc>
                <a:tc>
                  <a:txBody>
                    <a:bodyPr/>
                    <a:lstStyle/>
                    <a:p>
                      <a:pPr marL="179388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B0002D"/>
                        </a:buClr>
                        <a:buSzPct val="85000"/>
                        <a:buFont typeface="Arial" pitchFamily="34" charset="0"/>
                        <a:buNone/>
                        <a:tabLst/>
                      </a:pPr>
                      <a:r>
                        <a:rPr kumimoji="0" lang="en-US" altLang="fr-FR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19324B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+mn-cs"/>
                        </a:rPr>
                        <a:t>Periodic inspection of equipment &amp; facilities in operation 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fr-FR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Marine &amp; Offshore</a:t>
                      </a:r>
                      <a:endParaRPr kumimoji="0" lang="en-US" altLang="fr-FR" sz="15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388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B0002D"/>
                        </a:buClr>
                        <a:buSzPct val="85000"/>
                        <a:buFont typeface="Arial" pitchFamily="34" charset="0"/>
                        <a:buNone/>
                        <a:tabLst/>
                      </a:pPr>
                      <a:r>
                        <a:rPr kumimoji="0" lang="en-US" altLang="fr-FR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19324B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+mn-cs"/>
                        </a:rPr>
                        <a:t>Classification and certification of ships and offshore units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pSp>
        <p:nvGrpSpPr>
          <p:cNvPr id="2" name="Group 1"/>
          <p:cNvGrpSpPr/>
          <p:nvPr/>
        </p:nvGrpSpPr>
        <p:grpSpPr>
          <a:xfrm>
            <a:off x="357469" y="860072"/>
            <a:ext cx="487358" cy="4072785"/>
            <a:chOff x="357468" y="860072"/>
            <a:chExt cx="487358" cy="4072785"/>
          </a:xfrm>
        </p:grpSpPr>
        <p:pic>
          <p:nvPicPr>
            <p:cNvPr id="34" name="Picture 36"/>
            <p:cNvPicPr preferRelativeResize="0"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65842" y="4506078"/>
              <a:ext cx="478984" cy="4267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5" name="Picture 34"/>
            <p:cNvPicPr preferRelativeResize="0"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75398" y="1373376"/>
              <a:ext cx="391500" cy="4320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6" name="Picture 35"/>
            <p:cNvPicPr preferRelativeResize="0"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80356" y="2387820"/>
              <a:ext cx="411538" cy="44202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7" name="Picture 36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65842" y="2896722"/>
              <a:ext cx="450983" cy="4680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8" name="Picture 37"/>
            <p:cNvPicPr preferRelativeResize="0"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86189" y="3441514"/>
              <a:ext cx="449672" cy="4320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9" name="Picture 38"/>
            <p:cNvPicPr preferRelativeResize="0"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95154" y="3961092"/>
              <a:ext cx="412705" cy="4680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0" name="Picture 39"/>
            <p:cNvPicPr preferRelativeResize="0"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71193" y="1874300"/>
              <a:ext cx="419158" cy="4648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1" name="Picture 40"/>
            <p:cNvPicPr preferRelativeResize="0"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57468" y="860072"/>
              <a:ext cx="419158" cy="4115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Imagem 17" descr="Uma imagem contendo céu, ao ar livre, vermelho&#10;&#10;Descrição gerada automaticamente">
            <a:extLst>
              <a:ext uri="{FF2B5EF4-FFF2-40B4-BE49-F238E27FC236}">
                <a16:creationId xmlns:a16="http://schemas.microsoft.com/office/drawing/2014/main" id="{D67659AA-A3AC-45FA-94D5-1CAE2ED106E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381817" y="51955"/>
            <a:ext cx="532028" cy="65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3463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10000">
        <p:fade/>
      </p:transition>
    </mc:Choice>
    <mc:Fallback xmlns="">
      <p:transition spd="med" advClick="0" advTm="10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tângulo 41">
            <a:extLst>
              <a:ext uri="{FF2B5EF4-FFF2-40B4-BE49-F238E27FC236}">
                <a16:creationId xmlns:a16="http://schemas.microsoft.com/office/drawing/2014/main" id="{4541DDFE-D90B-432E-B35A-0C3359D1A43A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0" name="Title 1"/>
          <p:cNvSpPr>
            <a:spLocks noGrp="1"/>
          </p:cNvSpPr>
          <p:nvPr>
            <p:ph type="title"/>
          </p:nvPr>
        </p:nvSpPr>
        <p:spPr>
          <a:xfrm>
            <a:off x="758611" y="199322"/>
            <a:ext cx="7892858" cy="49053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spcFirstLastPara="1" vert="horz" wrap="square" lIns="22781" tIns="14466" rIns="28932" bIns="14466" numCol="1" rtlCol="0" anchor="ctr" anchorCtr="0" compatLnSpc="1">
            <a:prstTxWarp prst="textNoShape">
              <a:avLst/>
            </a:prstTxWarp>
            <a:normAutofit/>
          </a:bodyPr>
          <a:lstStyle/>
          <a:p>
            <a:pPr marL="144670" indent="-144670" defTabSz="287024"/>
            <a:r>
              <a:rPr lang="en-US" sz="1392" dirty="0">
                <a:solidFill>
                  <a:srgbClr val="B0002C"/>
                </a:solidFill>
                <a:ea typeface="ＭＳ Ｐゴシック" pitchFamily="34" charset="-128"/>
                <a:cs typeface="ＭＳ Ｐゴシック" charset="-128"/>
              </a:rPr>
              <a:t>Summary of </a:t>
            </a:r>
            <a:r>
              <a:rPr lang="en-US" sz="1392" dirty="0" err="1">
                <a:solidFill>
                  <a:srgbClr val="B0002C"/>
                </a:solidFill>
                <a:ea typeface="ＭＳ Ｐゴシック" pitchFamily="34" charset="-128"/>
                <a:cs typeface="ＭＳ Ｐゴシック" charset="-128"/>
              </a:rPr>
              <a:t>Agri</a:t>
            </a:r>
            <a:r>
              <a:rPr lang="en-US" sz="1392" dirty="0">
                <a:solidFill>
                  <a:srgbClr val="B0002C"/>
                </a:solidFill>
                <a:ea typeface="ＭＳ Ｐゴシック" pitchFamily="34" charset="-128"/>
                <a:cs typeface="ＭＳ Ｐゴシック" charset="-128"/>
              </a:rPr>
              <a:t>-Food Segments </a:t>
            </a:r>
            <a:br>
              <a:rPr lang="fr-FR" sz="1392" dirty="0">
                <a:solidFill>
                  <a:srgbClr val="B0002C"/>
                </a:solidFill>
                <a:ea typeface="ＭＳ Ｐゴシック" pitchFamily="34" charset="-128"/>
                <a:cs typeface="ＭＳ Ｐゴシック" charset="-128"/>
              </a:rPr>
            </a:br>
            <a:endParaRPr lang="fr-FR" sz="1392" dirty="0">
              <a:solidFill>
                <a:srgbClr val="B0002C"/>
              </a:solidFill>
              <a:ea typeface="ＭＳ Ｐゴシック" pitchFamily="34" charset="-128"/>
              <a:cs typeface="ＭＳ Ｐゴシック" charset="-128"/>
            </a:endParaRPr>
          </a:p>
        </p:txBody>
      </p:sp>
      <p:sp>
        <p:nvSpPr>
          <p:cNvPr id="3" name="Rogner un rectangle à un seul coin 11"/>
          <p:cNvSpPr/>
          <p:nvPr/>
        </p:nvSpPr>
        <p:spPr bwMode="auto">
          <a:xfrm>
            <a:off x="2704025" y="1269832"/>
            <a:ext cx="1193827" cy="3419532"/>
          </a:xfrm>
          <a:prstGeom prst="snip1Rect">
            <a:avLst>
              <a:gd name="adj" fmla="val 19370"/>
            </a:avLst>
          </a:prstGeom>
          <a:gradFill flip="none" rotWithShape="1">
            <a:gsLst>
              <a:gs pos="0">
                <a:srgbClr val="FFFFFF">
                  <a:lumMod val="95000"/>
                </a:srgbClr>
              </a:gs>
              <a:gs pos="59000">
                <a:srgbClr val="FFFFFF">
                  <a:alpha val="0"/>
                </a:srgbClr>
              </a:gs>
            </a:gsLst>
            <a:lin ang="27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68075" tIns="34035" rIns="68075" bIns="34035"/>
          <a:lstStyle/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FontTx/>
              <a:buChar char="•"/>
            </a:pPr>
            <a:endParaRPr lang="fr-FR" sz="1519" b="1" dirty="0">
              <a:solidFill>
                <a:srgbClr val="FFFFFF">
                  <a:lumMod val="5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endParaRPr lang="fr-FR" sz="633" dirty="0">
              <a:solidFill>
                <a:srgbClr val="68665C">
                  <a:lumMod val="60000"/>
                  <a:lumOff val="4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endParaRPr lang="fr-FR" sz="633" dirty="0">
              <a:solidFill>
                <a:srgbClr val="68665C">
                  <a:lumMod val="60000"/>
                  <a:lumOff val="4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endParaRPr lang="fr-FR" sz="633" dirty="0">
              <a:solidFill>
                <a:srgbClr val="68665C">
                  <a:lumMod val="60000"/>
                  <a:lumOff val="4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endParaRPr lang="fr-FR" sz="633" dirty="0">
              <a:solidFill>
                <a:srgbClr val="68665C">
                  <a:lumMod val="60000"/>
                  <a:lumOff val="4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endParaRPr lang="fr-FR" sz="633" dirty="0">
              <a:solidFill>
                <a:srgbClr val="68665C">
                  <a:lumMod val="60000"/>
                  <a:lumOff val="4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endParaRPr lang="fr-FR" sz="633" dirty="0">
              <a:solidFill>
                <a:srgbClr val="68665C">
                  <a:lumMod val="60000"/>
                  <a:lumOff val="4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endParaRPr lang="fr-FR" sz="633" dirty="0">
              <a:solidFill>
                <a:srgbClr val="68665C">
                  <a:lumMod val="60000"/>
                  <a:lumOff val="4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endParaRPr lang="fr-FR" sz="633" dirty="0">
              <a:solidFill>
                <a:srgbClr val="68665C">
                  <a:lumMod val="60000"/>
                  <a:lumOff val="4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endParaRPr lang="fr-FR" sz="633" dirty="0">
              <a:solidFill>
                <a:srgbClr val="68665C">
                  <a:lumMod val="60000"/>
                  <a:lumOff val="4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endParaRPr lang="fr-FR" sz="633" dirty="0">
              <a:solidFill>
                <a:srgbClr val="68665C">
                  <a:lumMod val="60000"/>
                  <a:lumOff val="4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r>
              <a:rPr lang="fr-FR" sz="633" b="1" dirty="0" err="1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Commodities</a:t>
            </a:r>
            <a:r>
              <a:rPr lang="fr-FR" sz="633" b="1" dirty="0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 Inspection</a:t>
            </a: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r>
              <a:rPr lang="fr-FR" sz="633" b="1" dirty="0" err="1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Quality</a:t>
            </a:r>
            <a:r>
              <a:rPr lang="fr-FR" sz="633" b="1" dirty="0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 and </a:t>
            </a:r>
            <a:r>
              <a:rPr lang="fr-FR" sz="633" b="1" dirty="0" err="1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Quantity</a:t>
            </a:r>
            <a:r>
              <a:rPr lang="fr-FR" sz="633" b="1" dirty="0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 </a:t>
            </a:r>
            <a:r>
              <a:rPr lang="fr-FR" sz="633" b="1" dirty="0" err="1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Testing</a:t>
            </a:r>
            <a:endParaRPr lang="fr-FR" sz="633" b="1" dirty="0">
              <a:solidFill>
                <a:srgbClr val="68665C">
                  <a:lumMod val="75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r>
              <a:rPr lang="fr-FR" sz="633" b="1" dirty="0" err="1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Verification</a:t>
            </a:r>
            <a:r>
              <a:rPr lang="fr-FR" sz="633" b="1" dirty="0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 of </a:t>
            </a:r>
            <a:r>
              <a:rPr lang="fr-FR" sz="633" b="1" dirty="0" err="1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Conformity</a:t>
            </a:r>
            <a:endParaRPr lang="fr-FR" sz="633" b="1" dirty="0">
              <a:solidFill>
                <a:srgbClr val="68665C">
                  <a:lumMod val="75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r>
              <a:rPr lang="fr-FR" sz="633" b="1" dirty="0" err="1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Loading</a:t>
            </a:r>
            <a:r>
              <a:rPr lang="fr-FR" sz="633" b="1" dirty="0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 &amp; </a:t>
            </a:r>
            <a:r>
              <a:rPr lang="fr-FR" sz="633" b="1" dirty="0" err="1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Unloading</a:t>
            </a:r>
            <a:r>
              <a:rPr lang="fr-FR" sz="633" b="1" dirty="0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 </a:t>
            </a: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r>
              <a:rPr lang="fr-FR" sz="633" b="1" dirty="0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Inspection</a:t>
            </a: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r>
              <a:rPr lang="fr-FR" sz="633" b="1" dirty="0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Stock Monitoring</a:t>
            </a: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r>
              <a:rPr lang="fr-FR" sz="633" b="1" dirty="0" err="1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Sampling</a:t>
            </a:r>
            <a:r>
              <a:rPr lang="fr-FR" sz="633" b="1" dirty="0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 and </a:t>
            </a:r>
            <a:r>
              <a:rPr lang="fr-FR" sz="633" b="1" dirty="0" err="1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testing</a:t>
            </a:r>
            <a:r>
              <a:rPr lang="fr-FR" sz="633" b="1" dirty="0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 of grains</a:t>
            </a:r>
          </a:p>
        </p:txBody>
      </p:sp>
      <p:sp>
        <p:nvSpPr>
          <p:cNvPr id="4" name="Rogner un rectangle à un seul coin 11"/>
          <p:cNvSpPr/>
          <p:nvPr/>
        </p:nvSpPr>
        <p:spPr bwMode="auto">
          <a:xfrm>
            <a:off x="149776" y="1269832"/>
            <a:ext cx="1190884" cy="3419532"/>
          </a:xfrm>
          <a:prstGeom prst="snip1Rect">
            <a:avLst>
              <a:gd name="adj" fmla="val 19370"/>
            </a:avLst>
          </a:prstGeom>
          <a:gradFill flip="none" rotWithShape="1">
            <a:gsLst>
              <a:gs pos="0">
                <a:srgbClr val="FFFFFF">
                  <a:lumMod val="95000"/>
                </a:srgbClr>
              </a:gs>
              <a:gs pos="59000">
                <a:srgbClr val="FFFFFF">
                  <a:alpha val="0"/>
                </a:srgbClr>
              </a:gs>
            </a:gsLst>
            <a:lin ang="27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68075" tIns="34035" rIns="68075" bIns="34035"/>
          <a:lstStyle/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endParaRPr lang="en-GB" sz="633" b="1" dirty="0">
              <a:solidFill>
                <a:srgbClr val="68665C">
                  <a:lumMod val="75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endParaRPr lang="en-GB" sz="443" b="1" dirty="0">
              <a:solidFill>
                <a:srgbClr val="68665C">
                  <a:lumMod val="75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endParaRPr lang="en-GB" sz="633" b="1" dirty="0">
              <a:solidFill>
                <a:srgbClr val="68665C">
                  <a:lumMod val="75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endParaRPr lang="en-GB" sz="633" b="1" dirty="0">
              <a:solidFill>
                <a:srgbClr val="68665C">
                  <a:lumMod val="75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endParaRPr lang="en-GB" sz="633" b="1" dirty="0">
              <a:solidFill>
                <a:srgbClr val="68665C">
                  <a:lumMod val="75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endParaRPr lang="en-GB" sz="633" b="1" dirty="0">
              <a:solidFill>
                <a:srgbClr val="68665C">
                  <a:lumMod val="75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endParaRPr lang="en-GB" sz="633" b="1" dirty="0">
              <a:solidFill>
                <a:srgbClr val="68665C">
                  <a:lumMod val="75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endParaRPr lang="en-GB" sz="633" b="1" dirty="0">
              <a:solidFill>
                <a:srgbClr val="68665C">
                  <a:lumMod val="75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endParaRPr lang="en-GB" sz="633" b="1" dirty="0">
              <a:solidFill>
                <a:srgbClr val="68665C">
                  <a:lumMod val="75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endParaRPr lang="en-GB" sz="633" b="1" dirty="0">
              <a:solidFill>
                <a:srgbClr val="68665C">
                  <a:lumMod val="75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endParaRPr lang="en-GB" sz="633" b="1" dirty="0">
              <a:solidFill>
                <a:srgbClr val="68665C">
                  <a:lumMod val="75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endParaRPr lang="en-GB" sz="633" b="1" dirty="0">
              <a:solidFill>
                <a:srgbClr val="68665C">
                  <a:lumMod val="75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defRPr/>
            </a:pPr>
            <a:endParaRPr lang="en-GB" sz="633" b="1" dirty="0">
              <a:solidFill>
                <a:srgbClr val="68665C">
                  <a:lumMod val="75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defRPr/>
            </a:pPr>
            <a:r>
              <a:rPr lang="en-US" sz="633" b="1" dirty="0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Digital platforms</a:t>
            </a: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defRPr/>
            </a:pPr>
            <a:r>
              <a:rPr lang="en-US" sz="633" b="1" dirty="0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Drone data capturing</a:t>
            </a: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defRPr/>
            </a:pPr>
            <a:r>
              <a:rPr lang="en-US" sz="633" b="1" dirty="0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Satellite data support</a:t>
            </a: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defRPr/>
            </a:pPr>
            <a:r>
              <a:rPr lang="en-US" sz="633" b="1" dirty="0">
                <a:solidFill>
                  <a:srgbClr val="FF0000"/>
                </a:solidFill>
                <a:latin typeface="DIN Next CYR" pitchFamily="34" charset="0"/>
              </a:rPr>
              <a:t>Digital Grain Grading Equipment </a:t>
            </a: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defRPr/>
            </a:pPr>
            <a:endParaRPr lang="en-GB" sz="633" b="1" dirty="0">
              <a:solidFill>
                <a:srgbClr val="68665C">
                  <a:lumMod val="75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defRPr/>
            </a:pPr>
            <a:endParaRPr lang="en-GB" sz="633" b="1" dirty="0">
              <a:solidFill>
                <a:srgbClr val="68665C">
                  <a:lumMod val="75000"/>
                </a:srgbClr>
              </a:solidFill>
              <a:latin typeface="DIN Next CYR" pitchFamily="34" charset="0"/>
            </a:endParaRP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764" y="1239385"/>
            <a:ext cx="1188401" cy="1225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ogner un rectangle à un seul coin 11"/>
          <p:cNvSpPr/>
          <p:nvPr/>
        </p:nvSpPr>
        <p:spPr bwMode="auto">
          <a:xfrm>
            <a:off x="7879704" y="1269832"/>
            <a:ext cx="1195978" cy="3419532"/>
          </a:xfrm>
          <a:prstGeom prst="snip1Rect">
            <a:avLst>
              <a:gd name="adj" fmla="val 19370"/>
            </a:avLst>
          </a:prstGeom>
          <a:gradFill flip="none" rotWithShape="1">
            <a:gsLst>
              <a:gs pos="0">
                <a:srgbClr val="FFFFFF">
                  <a:lumMod val="95000"/>
                </a:srgbClr>
              </a:gs>
              <a:gs pos="59000">
                <a:srgbClr val="FFFFFF">
                  <a:alpha val="0"/>
                </a:srgbClr>
              </a:gs>
            </a:gsLst>
            <a:lin ang="27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68075" tIns="34035" rIns="68075" bIns="34035"/>
          <a:lstStyle/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endParaRPr lang="en-US" sz="633" b="1" dirty="0">
              <a:solidFill>
                <a:srgbClr val="68665C">
                  <a:lumMod val="75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endParaRPr lang="en-US" sz="633" b="1" dirty="0">
              <a:solidFill>
                <a:srgbClr val="68665C">
                  <a:lumMod val="75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endParaRPr lang="en-US" sz="633" b="1" dirty="0">
              <a:solidFill>
                <a:srgbClr val="68665C">
                  <a:lumMod val="75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endParaRPr lang="en-US" sz="633" b="1" dirty="0">
              <a:solidFill>
                <a:srgbClr val="68665C">
                  <a:lumMod val="75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endParaRPr lang="en-US" sz="633" b="1" dirty="0">
              <a:solidFill>
                <a:srgbClr val="68665C">
                  <a:lumMod val="75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endParaRPr lang="en-US" sz="633" b="1" dirty="0">
              <a:solidFill>
                <a:srgbClr val="68665C">
                  <a:lumMod val="75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endParaRPr lang="en-US" sz="633" b="1" dirty="0">
              <a:solidFill>
                <a:srgbClr val="68665C">
                  <a:lumMod val="75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endParaRPr lang="en-US" sz="633" b="1" dirty="0">
              <a:solidFill>
                <a:srgbClr val="68665C">
                  <a:lumMod val="75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endParaRPr lang="en-US" sz="633" b="1" dirty="0">
              <a:solidFill>
                <a:srgbClr val="68665C">
                  <a:lumMod val="75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endParaRPr lang="en-US" sz="633" b="1" dirty="0">
              <a:solidFill>
                <a:srgbClr val="68665C">
                  <a:lumMod val="75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endParaRPr lang="en-US" sz="633" b="1" dirty="0">
              <a:solidFill>
                <a:srgbClr val="68665C">
                  <a:lumMod val="75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endParaRPr lang="en-US" sz="633" b="1" dirty="0">
              <a:solidFill>
                <a:srgbClr val="68665C">
                  <a:lumMod val="75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defRPr/>
            </a:pPr>
            <a:r>
              <a:rPr lang="en-US" sz="633" b="1" dirty="0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Customized Audits and Inspection Programs </a:t>
            </a: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defRPr/>
            </a:pPr>
            <a:r>
              <a:rPr lang="en-US" sz="633" b="1" dirty="0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Brand Best Practice Compliance</a:t>
            </a: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defRPr/>
            </a:pPr>
            <a:r>
              <a:rPr lang="en-US" sz="633" b="1" dirty="0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Digital Food Safety Monitoring</a:t>
            </a: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defRPr/>
            </a:pPr>
            <a:r>
              <a:rPr lang="en-US" sz="633" b="1" dirty="0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Sample Testing in Stores</a:t>
            </a: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defRPr/>
            </a:pPr>
            <a:r>
              <a:rPr lang="en-US" sz="633" b="1" dirty="0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Mystery Shopping</a:t>
            </a: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defRPr/>
            </a:pPr>
            <a:r>
              <a:rPr lang="en-US" sz="633" b="1" dirty="0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Hotel and Restaurant Certification</a:t>
            </a:r>
          </a:p>
        </p:txBody>
      </p:sp>
      <p:sp>
        <p:nvSpPr>
          <p:cNvPr id="7" name="Rogner un rectangle à un seul coin 11"/>
          <p:cNvSpPr/>
          <p:nvPr/>
        </p:nvSpPr>
        <p:spPr bwMode="auto">
          <a:xfrm>
            <a:off x="5267746" y="1262470"/>
            <a:ext cx="1220426" cy="3426897"/>
          </a:xfrm>
          <a:prstGeom prst="snip1Rect">
            <a:avLst>
              <a:gd name="adj" fmla="val 19370"/>
            </a:avLst>
          </a:prstGeom>
          <a:gradFill flip="none" rotWithShape="1">
            <a:gsLst>
              <a:gs pos="0">
                <a:srgbClr val="FFFFFF">
                  <a:lumMod val="95000"/>
                </a:srgbClr>
              </a:gs>
              <a:gs pos="59000">
                <a:srgbClr val="FFFFFF">
                  <a:alpha val="0"/>
                </a:srgbClr>
              </a:gs>
            </a:gsLst>
            <a:lin ang="27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68075" tIns="34035" rIns="68075" bIns="34035"/>
          <a:lstStyle/>
          <a:p>
            <a:pPr defTabSz="680779">
              <a:lnSpc>
                <a:spcPct val="90000"/>
              </a:lnSpc>
              <a:spcBef>
                <a:spcPct val="70000"/>
              </a:spcBef>
              <a:buFontTx/>
              <a:buChar char="•"/>
              <a:defRPr/>
            </a:pPr>
            <a:endParaRPr lang="en-US" sz="1171" dirty="0">
              <a:solidFill>
                <a:srgbClr val="19324B"/>
              </a:solidFill>
              <a:cs typeface="Arial" charset="0"/>
            </a:endParaRPr>
          </a:p>
          <a:p>
            <a:pPr defTabSz="680779">
              <a:lnSpc>
                <a:spcPct val="90000"/>
              </a:lnSpc>
              <a:spcBef>
                <a:spcPct val="70000"/>
              </a:spcBef>
              <a:buFontTx/>
              <a:buChar char="•"/>
              <a:defRPr/>
            </a:pPr>
            <a:endParaRPr lang="en-US" sz="1171" dirty="0">
              <a:solidFill>
                <a:srgbClr val="19324B"/>
              </a:solidFill>
              <a:cs typeface="Arial" charset="0"/>
            </a:endParaRPr>
          </a:p>
          <a:p>
            <a:pPr defTabSz="680779">
              <a:lnSpc>
                <a:spcPct val="90000"/>
              </a:lnSpc>
              <a:spcBef>
                <a:spcPct val="70000"/>
              </a:spcBef>
              <a:buFontTx/>
              <a:buChar char="•"/>
              <a:defRPr/>
            </a:pPr>
            <a:endParaRPr lang="en-US" sz="1171" dirty="0">
              <a:solidFill>
                <a:srgbClr val="19324B"/>
              </a:solidFill>
              <a:cs typeface="Arial" charset="0"/>
            </a:endParaRPr>
          </a:p>
          <a:p>
            <a:pPr defTabSz="680779">
              <a:lnSpc>
                <a:spcPct val="90000"/>
              </a:lnSpc>
              <a:spcBef>
                <a:spcPct val="70000"/>
              </a:spcBef>
              <a:buFontTx/>
              <a:buChar char="•"/>
              <a:defRPr/>
            </a:pPr>
            <a:endParaRPr lang="en-US" sz="1171" dirty="0">
              <a:solidFill>
                <a:srgbClr val="19324B"/>
              </a:solidFill>
              <a:cs typeface="Arial" charset="0"/>
            </a:endParaRPr>
          </a:p>
          <a:p>
            <a:pPr defTabSz="680779">
              <a:lnSpc>
                <a:spcPct val="90000"/>
              </a:lnSpc>
              <a:spcBef>
                <a:spcPct val="70000"/>
              </a:spcBef>
              <a:defRPr/>
            </a:pPr>
            <a:endParaRPr lang="en-US" sz="1171" dirty="0">
              <a:solidFill>
                <a:srgbClr val="19324B"/>
              </a:solidFill>
              <a:cs typeface="Arial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defRPr/>
            </a:pPr>
            <a:endParaRPr lang="en-US" sz="1171" dirty="0">
              <a:solidFill>
                <a:srgbClr val="19324B"/>
              </a:solidFill>
              <a:cs typeface="Arial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defRPr/>
            </a:pPr>
            <a:endParaRPr lang="en-US" sz="633" dirty="0">
              <a:solidFill>
                <a:srgbClr val="68665C">
                  <a:lumMod val="60000"/>
                  <a:lumOff val="4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defRPr/>
            </a:pPr>
            <a:r>
              <a:rPr lang="en-US" sz="633" b="1" dirty="0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Product Integrity</a:t>
            </a: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defRPr/>
            </a:pPr>
            <a:r>
              <a:rPr lang="en-US" sz="633" b="1" dirty="0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Nutritional </a:t>
            </a:r>
            <a:r>
              <a:rPr lang="en-US" sz="633" b="1" dirty="0" err="1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Labelling</a:t>
            </a:r>
            <a:endParaRPr lang="en-US" sz="633" b="1" dirty="0">
              <a:solidFill>
                <a:srgbClr val="68665C">
                  <a:lumMod val="75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defRPr/>
            </a:pPr>
            <a:r>
              <a:rPr lang="en-US" sz="633" b="1" dirty="0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Product Certification</a:t>
            </a: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defRPr/>
            </a:pPr>
            <a:r>
              <a:rPr lang="en-US" sz="633" b="1" dirty="0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Supply Chain Management</a:t>
            </a: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defRPr/>
            </a:pPr>
            <a:r>
              <a:rPr lang="en-US" sz="633" b="1" dirty="0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Food Manufacturing Certification Schemes(GFSI. environmental, social...)</a:t>
            </a: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defRPr/>
            </a:pPr>
            <a:endParaRPr lang="en-US" sz="633" b="1" dirty="0">
              <a:solidFill>
                <a:srgbClr val="68665C">
                  <a:lumMod val="75000"/>
                </a:srgbClr>
              </a:solidFill>
              <a:latin typeface="DIN Next CYR" pitchFamily="34" charset="0"/>
            </a:endParaRPr>
          </a:p>
        </p:txBody>
      </p:sp>
      <p:sp>
        <p:nvSpPr>
          <p:cNvPr id="8" name="Rogner un rectangle à un seul coin 11"/>
          <p:cNvSpPr/>
          <p:nvPr/>
        </p:nvSpPr>
        <p:spPr bwMode="auto">
          <a:xfrm>
            <a:off x="6582212" y="1262470"/>
            <a:ext cx="1195979" cy="3426897"/>
          </a:xfrm>
          <a:prstGeom prst="snip1Rect">
            <a:avLst>
              <a:gd name="adj" fmla="val 19370"/>
            </a:avLst>
          </a:prstGeom>
          <a:gradFill flip="none" rotWithShape="1">
            <a:gsLst>
              <a:gs pos="0">
                <a:srgbClr val="FFFFFF">
                  <a:lumMod val="95000"/>
                </a:srgbClr>
              </a:gs>
              <a:gs pos="59000">
                <a:srgbClr val="FFFFFF">
                  <a:alpha val="0"/>
                </a:srgbClr>
              </a:gs>
            </a:gsLst>
            <a:lin ang="27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68075" tIns="34035" rIns="68075" bIns="34035"/>
          <a:lstStyle/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FontTx/>
              <a:buChar char="•"/>
            </a:pPr>
            <a:endParaRPr lang="fr-FR" sz="791" dirty="0">
              <a:solidFill>
                <a:srgbClr val="FFFFFF">
                  <a:lumMod val="5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FontTx/>
              <a:buChar char="•"/>
            </a:pPr>
            <a:endParaRPr lang="fr-FR" sz="791" dirty="0">
              <a:solidFill>
                <a:srgbClr val="FFFFFF">
                  <a:lumMod val="5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FontTx/>
              <a:buChar char="•"/>
            </a:pPr>
            <a:endParaRPr lang="fr-FR" sz="791" dirty="0">
              <a:solidFill>
                <a:srgbClr val="FFFFFF">
                  <a:lumMod val="5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FontTx/>
              <a:buChar char="•"/>
            </a:pPr>
            <a:endParaRPr lang="fr-FR" sz="791" dirty="0">
              <a:solidFill>
                <a:srgbClr val="FFFFFF">
                  <a:lumMod val="5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FontTx/>
              <a:buChar char="•"/>
            </a:pPr>
            <a:endParaRPr lang="fr-FR" sz="791" dirty="0">
              <a:solidFill>
                <a:srgbClr val="FFFFFF">
                  <a:lumMod val="5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endParaRPr lang="fr-FR" sz="791" dirty="0">
              <a:solidFill>
                <a:srgbClr val="FFFFFF">
                  <a:lumMod val="5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endParaRPr lang="fr-FR" sz="791" dirty="0">
              <a:solidFill>
                <a:srgbClr val="FFFFFF">
                  <a:lumMod val="5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FontTx/>
              <a:buChar char="•"/>
            </a:pPr>
            <a:endParaRPr lang="fr-FR" sz="633" dirty="0">
              <a:solidFill>
                <a:srgbClr val="FFFFFF">
                  <a:lumMod val="5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endParaRPr lang="fr-FR" sz="633" dirty="0">
              <a:solidFill>
                <a:srgbClr val="FFFFFF">
                  <a:lumMod val="5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endParaRPr lang="fr-FR" sz="633" dirty="0">
              <a:solidFill>
                <a:srgbClr val="FFFFFF">
                  <a:lumMod val="5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defRPr/>
            </a:pPr>
            <a:r>
              <a:rPr lang="en-US" sz="633" b="1" dirty="0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Customized Supplier Audit/Risk Monitoring Programs</a:t>
            </a: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defRPr/>
            </a:pPr>
            <a:r>
              <a:rPr lang="en-US" sz="633" b="1" dirty="0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Digital Food Safety Monitoring</a:t>
            </a: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defRPr/>
            </a:pPr>
            <a:r>
              <a:rPr lang="en-US" sz="633" b="1" dirty="0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Food Product Testing</a:t>
            </a: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defRPr/>
            </a:pPr>
            <a:r>
              <a:rPr lang="en-US" sz="633" b="1" dirty="0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Store Certification</a:t>
            </a: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defRPr/>
            </a:pPr>
            <a:r>
              <a:rPr lang="en-US" sz="633" b="1" dirty="0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Retail Risk-based Inspection</a:t>
            </a: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FontTx/>
              <a:buChar char="•"/>
            </a:pPr>
            <a:endParaRPr lang="fr-FR" sz="791" dirty="0">
              <a:solidFill>
                <a:srgbClr val="FFFFFF">
                  <a:lumMod val="5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FontTx/>
              <a:buChar char="•"/>
            </a:pPr>
            <a:endParaRPr lang="fr-FR" sz="791" dirty="0">
              <a:solidFill>
                <a:srgbClr val="FFFFFF">
                  <a:lumMod val="50000"/>
                </a:srgbClr>
              </a:solidFill>
              <a:latin typeface="DIN Next CYR" pitchFamily="34" charset="0"/>
            </a:endParaRPr>
          </a:p>
        </p:txBody>
      </p:sp>
      <p:sp>
        <p:nvSpPr>
          <p:cNvPr id="9" name="Rogner un rectangle à un seul coin 11"/>
          <p:cNvSpPr/>
          <p:nvPr/>
        </p:nvSpPr>
        <p:spPr bwMode="auto">
          <a:xfrm>
            <a:off x="1433520" y="1269832"/>
            <a:ext cx="1181535" cy="3419532"/>
          </a:xfrm>
          <a:prstGeom prst="snip1Rect">
            <a:avLst>
              <a:gd name="adj" fmla="val 19370"/>
            </a:avLst>
          </a:prstGeom>
          <a:gradFill flip="none" rotWithShape="1">
            <a:gsLst>
              <a:gs pos="0">
                <a:srgbClr val="FFFFFF">
                  <a:lumMod val="95000"/>
                </a:srgbClr>
              </a:gs>
              <a:gs pos="59000">
                <a:srgbClr val="FFFFFF">
                  <a:alpha val="0"/>
                </a:srgbClr>
              </a:gs>
            </a:gsLst>
            <a:lin ang="27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68075" tIns="34035" rIns="68075" bIns="34035"/>
          <a:lstStyle/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FontTx/>
              <a:buChar char="•"/>
              <a:defRPr/>
            </a:pPr>
            <a:endParaRPr lang="en-US" sz="633" dirty="0">
              <a:solidFill>
                <a:srgbClr val="68665C">
                  <a:lumMod val="60000"/>
                  <a:lumOff val="4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FontTx/>
              <a:buChar char="•"/>
              <a:defRPr/>
            </a:pPr>
            <a:endParaRPr lang="en-US" sz="633" dirty="0">
              <a:solidFill>
                <a:srgbClr val="68665C">
                  <a:lumMod val="60000"/>
                  <a:lumOff val="4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FontTx/>
              <a:buChar char="•"/>
              <a:defRPr/>
            </a:pPr>
            <a:endParaRPr lang="en-US" sz="633" dirty="0">
              <a:solidFill>
                <a:srgbClr val="68665C">
                  <a:lumMod val="60000"/>
                  <a:lumOff val="4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FontTx/>
              <a:buChar char="•"/>
              <a:defRPr/>
            </a:pPr>
            <a:endParaRPr lang="en-US" sz="633" dirty="0">
              <a:solidFill>
                <a:srgbClr val="68665C">
                  <a:lumMod val="60000"/>
                  <a:lumOff val="4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FontTx/>
              <a:buChar char="•"/>
              <a:defRPr/>
            </a:pPr>
            <a:endParaRPr lang="en-US" sz="633" dirty="0">
              <a:solidFill>
                <a:srgbClr val="68665C">
                  <a:lumMod val="60000"/>
                  <a:lumOff val="4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FontTx/>
              <a:buChar char="•"/>
              <a:defRPr/>
            </a:pPr>
            <a:endParaRPr lang="en-US" sz="633" dirty="0">
              <a:solidFill>
                <a:srgbClr val="68665C">
                  <a:lumMod val="60000"/>
                  <a:lumOff val="4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FontTx/>
              <a:buChar char="•"/>
              <a:defRPr/>
            </a:pPr>
            <a:endParaRPr lang="en-US" sz="633" dirty="0">
              <a:solidFill>
                <a:srgbClr val="68665C">
                  <a:lumMod val="60000"/>
                  <a:lumOff val="4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FontTx/>
              <a:buChar char="•"/>
              <a:defRPr/>
            </a:pPr>
            <a:endParaRPr lang="en-US" sz="633" dirty="0">
              <a:solidFill>
                <a:srgbClr val="68665C">
                  <a:lumMod val="60000"/>
                  <a:lumOff val="4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FontTx/>
              <a:buChar char="•"/>
              <a:defRPr/>
            </a:pPr>
            <a:endParaRPr lang="en-US" sz="633" dirty="0">
              <a:solidFill>
                <a:srgbClr val="68665C">
                  <a:lumMod val="60000"/>
                  <a:lumOff val="4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FontTx/>
              <a:buChar char="•"/>
              <a:defRPr/>
            </a:pPr>
            <a:endParaRPr lang="en-US" sz="633" dirty="0">
              <a:solidFill>
                <a:srgbClr val="68665C">
                  <a:lumMod val="60000"/>
                  <a:lumOff val="4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FontTx/>
              <a:buChar char="•"/>
              <a:defRPr/>
            </a:pPr>
            <a:endParaRPr lang="en-US" sz="633" dirty="0">
              <a:solidFill>
                <a:srgbClr val="68665C">
                  <a:lumMod val="60000"/>
                  <a:lumOff val="4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FontTx/>
              <a:buChar char="•"/>
              <a:defRPr/>
            </a:pPr>
            <a:endParaRPr lang="en-US" sz="633" dirty="0">
              <a:solidFill>
                <a:srgbClr val="68665C">
                  <a:lumMod val="60000"/>
                  <a:lumOff val="4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defRPr/>
            </a:pPr>
            <a:r>
              <a:rPr lang="en-US" sz="633" b="1" dirty="0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Chemical &amp; Residue Testing</a:t>
            </a: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defRPr/>
            </a:pPr>
            <a:r>
              <a:rPr lang="en-US" sz="633" b="1" dirty="0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GMO Testing</a:t>
            </a: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defRPr/>
            </a:pPr>
            <a:r>
              <a:rPr lang="en-US" sz="633" b="1" dirty="0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Microbiology Testing</a:t>
            </a: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defRPr/>
            </a:pPr>
            <a:r>
              <a:rPr lang="en-GB" sz="633" b="1" dirty="0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Water/Soil Analysis</a:t>
            </a: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defRPr/>
            </a:pPr>
            <a:r>
              <a:rPr lang="en-GB" sz="633" b="1" dirty="0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Global GAP </a:t>
            </a:r>
            <a:r>
              <a:rPr lang="en-GB" sz="633" b="1" dirty="0" err="1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cerification</a:t>
            </a:r>
            <a:endParaRPr lang="en-GB" sz="633" b="1" dirty="0">
              <a:solidFill>
                <a:srgbClr val="68665C">
                  <a:lumMod val="75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defRPr/>
            </a:pPr>
            <a:endParaRPr lang="en-US" sz="633" b="1" dirty="0">
              <a:solidFill>
                <a:srgbClr val="68665C">
                  <a:lumMod val="75000"/>
                </a:srgbClr>
              </a:solidFill>
              <a:latin typeface="DIN Next CYR" pitchFamily="34" charset="0"/>
            </a:endParaRPr>
          </a:p>
        </p:txBody>
      </p:sp>
      <p:sp>
        <p:nvSpPr>
          <p:cNvPr id="10" name="Rogner un rectangle à un seul coin 11"/>
          <p:cNvSpPr/>
          <p:nvPr/>
        </p:nvSpPr>
        <p:spPr bwMode="auto">
          <a:xfrm>
            <a:off x="3971077" y="1269832"/>
            <a:ext cx="1195979" cy="3419532"/>
          </a:xfrm>
          <a:prstGeom prst="snip1Rect">
            <a:avLst>
              <a:gd name="adj" fmla="val 19370"/>
            </a:avLst>
          </a:prstGeom>
          <a:gradFill flip="none" rotWithShape="1">
            <a:gsLst>
              <a:gs pos="0">
                <a:srgbClr val="FFFFFF">
                  <a:lumMod val="95000"/>
                </a:srgbClr>
              </a:gs>
              <a:gs pos="59000">
                <a:srgbClr val="FFFFFF">
                  <a:alpha val="0"/>
                </a:srgbClr>
              </a:gs>
            </a:gsLst>
            <a:lin ang="27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68075" tIns="34035" rIns="68075" bIns="34035"/>
          <a:lstStyle/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FontTx/>
              <a:buChar char="•"/>
            </a:pPr>
            <a:endParaRPr lang="en-US" sz="791" dirty="0">
              <a:solidFill>
                <a:srgbClr val="FFFFFF">
                  <a:lumMod val="5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FontTx/>
              <a:buChar char="•"/>
            </a:pPr>
            <a:endParaRPr lang="en-US" sz="791" dirty="0">
              <a:solidFill>
                <a:srgbClr val="FFFFFF">
                  <a:lumMod val="5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FontTx/>
              <a:buChar char="•"/>
            </a:pPr>
            <a:endParaRPr lang="en-US" sz="791" dirty="0">
              <a:solidFill>
                <a:srgbClr val="FFFFFF">
                  <a:lumMod val="5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FontTx/>
              <a:buChar char="•"/>
            </a:pPr>
            <a:endParaRPr lang="en-US" sz="791" dirty="0">
              <a:solidFill>
                <a:srgbClr val="FFFFFF">
                  <a:lumMod val="5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FontTx/>
              <a:buChar char="•"/>
            </a:pPr>
            <a:endParaRPr lang="en-US" sz="791" dirty="0">
              <a:solidFill>
                <a:srgbClr val="FFFFFF">
                  <a:lumMod val="5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FontTx/>
              <a:buChar char="•"/>
            </a:pPr>
            <a:endParaRPr lang="en-US" sz="791" dirty="0">
              <a:solidFill>
                <a:srgbClr val="FFFFFF">
                  <a:lumMod val="5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FontTx/>
              <a:buChar char="•"/>
            </a:pPr>
            <a:endParaRPr lang="en-US" sz="791" dirty="0">
              <a:solidFill>
                <a:srgbClr val="FFFFFF">
                  <a:lumMod val="5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FontTx/>
              <a:buChar char="•"/>
            </a:pPr>
            <a:endParaRPr lang="en-US" sz="633" dirty="0">
              <a:solidFill>
                <a:srgbClr val="FFFFFF">
                  <a:lumMod val="5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endParaRPr lang="en-US" sz="633" dirty="0">
              <a:solidFill>
                <a:srgbClr val="FFFFFF">
                  <a:lumMod val="5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</a:pPr>
            <a:endParaRPr lang="en-US" sz="633" dirty="0">
              <a:solidFill>
                <a:srgbClr val="FFFFFF">
                  <a:lumMod val="5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defRPr/>
            </a:pPr>
            <a:r>
              <a:rPr lang="en-US" sz="633" b="1" dirty="0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GMP</a:t>
            </a: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defRPr/>
            </a:pPr>
            <a:r>
              <a:rPr lang="en-US" sz="633" b="1" dirty="0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Food Manufacturing System Certification</a:t>
            </a: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defRPr/>
            </a:pPr>
            <a:r>
              <a:rPr lang="en-US" sz="633" b="1" dirty="0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Microbiology and Pathogen Services</a:t>
            </a: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defRPr/>
            </a:pPr>
            <a:r>
              <a:rPr lang="en-US" sz="633" b="1" dirty="0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Chemical and Residue Testing</a:t>
            </a: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defRPr/>
            </a:pPr>
            <a:r>
              <a:rPr lang="en-US" sz="633" b="1" dirty="0">
                <a:solidFill>
                  <a:srgbClr val="68665C">
                    <a:lumMod val="75000"/>
                  </a:srgbClr>
                </a:solidFill>
                <a:latin typeface="DIN Next CYR" pitchFamily="34" charset="0"/>
              </a:rPr>
              <a:t>Process monitoring for processing plants </a:t>
            </a: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defRPr/>
            </a:pPr>
            <a:endParaRPr lang="en-US" sz="633" b="1" dirty="0">
              <a:solidFill>
                <a:srgbClr val="68665C">
                  <a:lumMod val="75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FontTx/>
              <a:buChar char="•"/>
            </a:pPr>
            <a:endParaRPr lang="fr-FR" sz="633" dirty="0">
              <a:solidFill>
                <a:srgbClr val="FFFFFF">
                  <a:lumMod val="5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FontTx/>
              <a:buChar char="•"/>
            </a:pPr>
            <a:endParaRPr lang="fr-FR" sz="633" dirty="0">
              <a:solidFill>
                <a:srgbClr val="FFFFFF">
                  <a:lumMod val="50000"/>
                </a:srgbClr>
              </a:solidFill>
              <a:latin typeface="DIN Next CYR" pitchFamily="34" charset="0"/>
            </a:endParaRPr>
          </a:p>
          <a:p>
            <a:pPr defTabSz="288779" fontAlgn="base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FontTx/>
              <a:buChar char="•"/>
            </a:pPr>
            <a:endParaRPr lang="fr-FR" sz="633" dirty="0">
              <a:solidFill>
                <a:srgbClr val="FFFFFF">
                  <a:lumMod val="50000"/>
                </a:srgbClr>
              </a:solidFill>
              <a:latin typeface="DIN Next CYR" pitchFamily="34" charset="0"/>
            </a:endParaRPr>
          </a:p>
        </p:txBody>
      </p:sp>
      <p:sp>
        <p:nvSpPr>
          <p:cNvPr id="11" name="Rectangle 8"/>
          <p:cNvSpPr/>
          <p:nvPr/>
        </p:nvSpPr>
        <p:spPr>
          <a:xfrm>
            <a:off x="1549319" y="2467557"/>
            <a:ext cx="1056845" cy="212813"/>
          </a:xfrm>
          <a:prstGeom prst="rect">
            <a:avLst/>
          </a:prstGeom>
        </p:spPr>
        <p:txBody>
          <a:bodyPr wrap="square" lIns="68075" tIns="34035" rIns="68075" bIns="34035">
            <a:spAutoFit/>
          </a:bodyPr>
          <a:lstStyle/>
          <a:p>
            <a:pPr lvl="7" defTabSz="680779" fontAlgn="base">
              <a:lnSpc>
                <a:spcPts val="1199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de-DE" sz="981" b="1" dirty="0" err="1">
                <a:solidFill>
                  <a:srgbClr val="B0002D"/>
                </a:solidFill>
                <a:cs typeface="Arial" pitchFamily="34" charset="0"/>
              </a:rPr>
              <a:t>Production</a:t>
            </a:r>
            <a:r>
              <a:rPr lang="de-DE" sz="981" b="1" dirty="0">
                <a:solidFill>
                  <a:srgbClr val="B0002D"/>
                </a:solidFill>
                <a:cs typeface="Arial" pitchFamily="34" charset="0"/>
              </a:rPr>
              <a:t> </a:t>
            </a:r>
          </a:p>
        </p:txBody>
      </p:sp>
      <p:sp>
        <p:nvSpPr>
          <p:cNvPr id="12" name="Rectangle 16"/>
          <p:cNvSpPr/>
          <p:nvPr/>
        </p:nvSpPr>
        <p:spPr>
          <a:xfrm>
            <a:off x="4104332" y="2459691"/>
            <a:ext cx="929492" cy="212813"/>
          </a:xfrm>
          <a:prstGeom prst="rect">
            <a:avLst/>
          </a:prstGeom>
        </p:spPr>
        <p:txBody>
          <a:bodyPr wrap="square" lIns="68075" tIns="34035" rIns="68075" bIns="34035">
            <a:spAutoFit/>
          </a:bodyPr>
          <a:lstStyle/>
          <a:p>
            <a:pPr lvl="7" defTabSz="680779" fontAlgn="base">
              <a:lnSpc>
                <a:spcPts val="1199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81" b="1" dirty="0">
                <a:solidFill>
                  <a:srgbClr val="B0002D"/>
                </a:solidFill>
                <a:cs typeface="Arial" pitchFamily="34" charset="0"/>
              </a:rPr>
              <a:t>Processing</a:t>
            </a:r>
          </a:p>
        </p:txBody>
      </p:sp>
      <p:sp>
        <p:nvSpPr>
          <p:cNvPr id="13" name="Rectangle 17"/>
          <p:cNvSpPr/>
          <p:nvPr/>
        </p:nvSpPr>
        <p:spPr>
          <a:xfrm>
            <a:off x="5562925" y="2463641"/>
            <a:ext cx="598045" cy="212813"/>
          </a:xfrm>
          <a:prstGeom prst="rect">
            <a:avLst/>
          </a:prstGeom>
        </p:spPr>
        <p:txBody>
          <a:bodyPr wrap="square" lIns="68075" tIns="34035" rIns="68075" bIns="34035">
            <a:spAutoFit/>
          </a:bodyPr>
          <a:lstStyle/>
          <a:p>
            <a:pPr lvl="7" defTabSz="680779" fontAlgn="base">
              <a:lnSpc>
                <a:spcPts val="1199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81" b="1" dirty="0">
                <a:solidFill>
                  <a:srgbClr val="B0002D"/>
                </a:solidFill>
                <a:cs typeface="Arial" pitchFamily="34" charset="0"/>
              </a:rPr>
              <a:t>Brands</a:t>
            </a:r>
          </a:p>
        </p:txBody>
      </p:sp>
      <p:sp>
        <p:nvSpPr>
          <p:cNvPr id="14" name="Rectangle 18"/>
          <p:cNvSpPr/>
          <p:nvPr/>
        </p:nvSpPr>
        <p:spPr>
          <a:xfrm>
            <a:off x="6845172" y="2457316"/>
            <a:ext cx="789859" cy="212813"/>
          </a:xfrm>
          <a:prstGeom prst="rect">
            <a:avLst/>
          </a:prstGeom>
        </p:spPr>
        <p:txBody>
          <a:bodyPr wrap="square" lIns="68075" tIns="34035" rIns="68075" bIns="34035">
            <a:spAutoFit/>
          </a:bodyPr>
          <a:lstStyle/>
          <a:p>
            <a:pPr lvl="7" defTabSz="680779" fontAlgn="base">
              <a:lnSpc>
                <a:spcPts val="1199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81" b="1" dirty="0">
                <a:solidFill>
                  <a:srgbClr val="B0002D"/>
                </a:solidFill>
                <a:cs typeface="Arial" pitchFamily="34" charset="0"/>
              </a:rPr>
              <a:t>Retail </a:t>
            </a:r>
          </a:p>
        </p:txBody>
      </p:sp>
      <p:pic>
        <p:nvPicPr>
          <p:cNvPr id="15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964316" y="1259237"/>
            <a:ext cx="1188400" cy="11960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7" name="Rectangle 18"/>
          <p:cNvSpPr/>
          <p:nvPr/>
        </p:nvSpPr>
        <p:spPr>
          <a:xfrm>
            <a:off x="8026195" y="2293851"/>
            <a:ext cx="936179" cy="366701"/>
          </a:xfrm>
          <a:prstGeom prst="rect">
            <a:avLst/>
          </a:prstGeom>
        </p:spPr>
        <p:txBody>
          <a:bodyPr wrap="square" lIns="68075" tIns="34035" rIns="68075" bIns="34035">
            <a:spAutoFit/>
          </a:bodyPr>
          <a:lstStyle/>
          <a:p>
            <a:pPr lvl="7" defTabSz="680779" fontAlgn="base">
              <a:lnSpc>
                <a:spcPts val="1199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81" b="1" dirty="0">
                <a:solidFill>
                  <a:srgbClr val="B0002D"/>
                </a:solidFill>
                <a:cs typeface="Arial" pitchFamily="34" charset="0"/>
              </a:rPr>
              <a:t> </a:t>
            </a:r>
          </a:p>
          <a:p>
            <a:pPr lvl="7" defTabSz="680779" fontAlgn="base">
              <a:lnSpc>
                <a:spcPts val="1199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81" b="1" dirty="0">
                <a:solidFill>
                  <a:srgbClr val="B0002D"/>
                </a:solidFill>
                <a:cs typeface="Arial" pitchFamily="34" charset="0"/>
              </a:rPr>
              <a:t>Hospitality</a:t>
            </a:r>
          </a:p>
        </p:txBody>
      </p:sp>
      <p:pic>
        <p:nvPicPr>
          <p:cNvPr id="18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9720" y="2680170"/>
            <a:ext cx="358901" cy="3305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5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6494" y="2702771"/>
            <a:ext cx="378546" cy="33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" name="Picture 1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1266" y="2719553"/>
            <a:ext cx="365121" cy="334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" name="Picture 114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8193" y="2691341"/>
            <a:ext cx="367508" cy="3299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115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1608" y="2680174"/>
            <a:ext cx="358899" cy="3286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Rectangle 10"/>
          <p:cNvSpPr/>
          <p:nvPr/>
        </p:nvSpPr>
        <p:spPr>
          <a:xfrm>
            <a:off x="2916544" y="2460012"/>
            <a:ext cx="771731" cy="212813"/>
          </a:xfrm>
          <a:prstGeom prst="rect">
            <a:avLst/>
          </a:prstGeom>
        </p:spPr>
        <p:txBody>
          <a:bodyPr wrap="square" lIns="68075" tIns="34035" rIns="68075" bIns="34035">
            <a:spAutoFit/>
          </a:bodyPr>
          <a:lstStyle/>
          <a:p>
            <a:pPr lvl="7" defTabSz="680779" fontAlgn="base">
              <a:lnSpc>
                <a:spcPts val="1199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81" b="1" dirty="0">
                <a:solidFill>
                  <a:srgbClr val="B0002D"/>
                </a:solidFill>
                <a:cs typeface="Arial" pitchFamily="34" charset="0"/>
              </a:rPr>
              <a:t>Trading</a:t>
            </a:r>
          </a:p>
        </p:txBody>
      </p:sp>
      <p:pic>
        <p:nvPicPr>
          <p:cNvPr id="24" name="Picture 8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705508" y="1246023"/>
            <a:ext cx="1190884" cy="1196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5267" y="2710897"/>
            <a:ext cx="380001" cy="3309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" name="Picture 2" descr="C:\Users\Bpitou\Documents\2016\Marketing\Food 2016\Africa Strategy\Visuels à utiliser\article_47.jp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4596" y="1230795"/>
            <a:ext cx="1212100" cy="11960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5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2212" y="1239385"/>
            <a:ext cx="1190885" cy="119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115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598" y="2733469"/>
            <a:ext cx="380001" cy="3207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</p:pic>
      <p:sp>
        <p:nvSpPr>
          <p:cNvPr id="29" name="Ellipse 149"/>
          <p:cNvSpPr/>
          <p:nvPr/>
        </p:nvSpPr>
        <p:spPr bwMode="auto">
          <a:xfrm>
            <a:off x="466598" y="2753000"/>
            <a:ext cx="380001" cy="248149"/>
          </a:xfrm>
          <a:prstGeom prst="ellipse">
            <a:avLst/>
          </a:prstGeom>
          <a:solidFill>
            <a:srgbClr val="FFFFFF">
              <a:lumMod val="85000"/>
            </a:srgbClr>
          </a:solidFill>
          <a:ln w="25400" cap="flat" cmpd="sng" algn="ctr">
            <a:noFill/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lIns="28864" tIns="14430" rIns="28864" bIns="14430" anchor="ctr"/>
          <a:lstStyle/>
          <a:p>
            <a:pPr algn="ctr" defTabSz="814182">
              <a:defRPr/>
            </a:pPr>
            <a:endParaRPr lang="en-US" sz="1424">
              <a:solidFill>
                <a:srgbClr val="FFFFFF"/>
              </a:solidFill>
            </a:endParaRPr>
          </a:p>
        </p:txBody>
      </p:sp>
      <p:sp>
        <p:nvSpPr>
          <p:cNvPr id="30" name="Rectangle 8"/>
          <p:cNvSpPr/>
          <p:nvPr/>
        </p:nvSpPr>
        <p:spPr>
          <a:xfrm>
            <a:off x="149776" y="2482854"/>
            <a:ext cx="1265504" cy="212813"/>
          </a:xfrm>
          <a:prstGeom prst="rect">
            <a:avLst/>
          </a:prstGeom>
        </p:spPr>
        <p:txBody>
          <a:bodyPr wrap="square" lIns="68075" tIns="34035" rIns="68075" bIns="34035">
            <a:spAutoFit/>
          </a:bodyPr>
          <a:lstStyle/>
          <a:p>
            <a:pPr lvl="7" defTabSz="680779" fontAlgn="base">
              <a:lnSpc>
                <a:spcPts val="1199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de-DE" sz="981" b="1" dirty="0">
                <a:solidFill>
                  <a:srgbClr val="B0002D"/>
                </a:solidFill>
                <a:cs typeface="Arial" pitchFamily="34" charset="0"/>
              </a:rPr>
              <a:t>Precision </a:t>
            </a:r>
            <a:r>
              <a:rPr lang="de-DE" sz="981" b="1" dirty="0" err="1">
                <a:solidFill>
                  <a:srgbClr val="B0002D"/>
                </a:solidFill>
                <a:cs typeface="Arial" pitchFamily="34" charset="0"/>
              </a:rPr>
              <a:t>Farming</a:t>
            </a:r>
            <a:endParaRPr lang="de-DE" sz="981" b="1" dirty="0">
              <a:solidFill>
                <a:srgbClr val="B0002D"/>
              </a:solidFill>
              <a:cs typeface="Arial" pitchFamily="34" charset="0"/>
            </a:endParaRPr>
          </a:p>
        </p:txBody>
      </p:sp>
      <p:pic>
        <p:nvPicPr>
          <p:cNvPr id="31" name="Picture 4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5280" y="1246018"/>
            <a:ext cx="1190884" cy="12098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2" name="Group 40"/>
          <p:cNvGrpSpPr/>
          <p:nvPr/>
        </p:nvGrpSpPr>
        <p:grpSpPr>
          <a:xfrm>
            <a:off x="188643" y="511896"/>
            <a:ext cx="8946920" cy="554083"/>
            <a:chOff x="479761" y="5359179"/>
            <a:chExt cx="14270799" cy="988458"/>
          </a:xfrm>
        </p:grpSpPr>
        <p:sp>
          <p:nvSpPr>
            <p:cNvPr id="33" name="Right Arrow 37"/>
            <p:cNvSpPr/>
            <p:nvPr/>
          </p:nvSpPr>
          <p:spPr bwMode="auto">
            <a:xfrm>
              <a:off x="6458155" y="5359179"/>
              <a:ext cx="8292405" cy="988458"/>
            </a:xfrm>
            <a:prstGeom prst="rightArrow">
              <a:avLst/>
            </a:prstGeom>
            <a:solidFill>
              <a:srgbClr val="4F74AA">
                <a:lumMod val="40000"/>
                <a:lumOff val="6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28932" tIns="14466" rIns="28932" bIns="14466" numCol="1" rtlCol="0" anchor="t" anchorCtr="0" compatLnSpc="1">
              <a:prstTxWarp prst="textNoShape">
                <a:avLst/>
              </a:prstTxWarp>
            </a:bodyPr>
            <a:lstStyle/>
            <a:p>
              <a:pPr defTabSz="680779" fontAlgn="base">
                <a:lnSpc>
                  <a:spcPct val="90000"/>
                </a:lnSpc>
                <a:spcBef>
                  <a:spcPct val="70000"/>
                </a:spcBef>
                <a:spcAft>
                  <a:spcPct val="0"/>
                </a:spcAft>
                <a:buFontTx/>
                <a:buChar char="•"/>
              </a:pPr>
              <a:endParaRPr lang="fr-FR" sz="1171">
                <a:solidFill>
                  <a:srgbClr val="68665C">
                    <a:lumMod val="75000"/>
                  </a:srgbClr>
                </a:solidFill>
                <a:cs typeface="Arial" charset="0"/>
              </a:endParaRPr>
            </a:p>
          </p:txBody>
        </p:sp>
        <p:sp>
          <p:nvSpPr>
            <p:cNvPr id="34" name="Rectangle 33"/>
            <p:cNvSpPr/>
            <p:nvPr/>
          </p:nvSpPr>
          <p:spPr bwMode="auto">
            <a:xfrm>
              <a:off x="479761" y="5608859"/>
              <a:ext cx="5978395" cy="489097"/>
            </a:xfrm>
            <a:prstGeom prst="rect">
              <a:avLst/>
            </a:prstGeom>
            <a:solidFill>
              <a:srgbClr val="4F74AA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28932" tIns="14466" rIns="28932" bIns="14466" numCol="1" rtlCol="0" anchor="t" anchorCtr="0" compatLnSpc="1">
              <a:prstTxWarp prst="textNoShape">
                <a:avLst/>
              </a:prstTxWarp>
            </a:bodyPr>
            <a:lstStyle/>
            <a:p>
              <a:pPr defTabSz="680779" fontAlgn="base">
                <a:lnSpc>
                  <a:spcPct val="90000"/>
                </a:lnSpc>
                <a:spcBef>
                  <a:spcPct val="70000"/>
                </a:spcBef>
                <a:spcAft>
                  <a:spcPct val="0"/>
                </a:spcAft>
                <a:buFontTx/>
                <a:buChar char="•"/>
              </a:pPr>
              <a:endParaRPr lang="fr-FR" sz="1171">
                <a:solidFill>
                  <a:srgbClr val="68665C">
                    <a:lumMod val="75000"/>
                  </a:srgbClr>
                </a:solidFill>
                <a:cs typeface="Arial" charset="0"/>
              </a:endParaRPr>
            </a:p>
          </p:txBody>
        </p:sp>
        <p:sp>
          <p:nvSpPr>
            <p:cNvPr id="35" name="Rectangle 20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990195" y="5662113"/>
              <a:ext cx="2169921" cy="3825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26" tIns="0" rIns="1226" bIns="0" anchor="ctr"/>
            <a:lstStyle>
              <a:lvl1pPr defTabSz="909638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09638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09638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09638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09638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096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096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096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096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287274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EC9BA2"/>
                </a:buClr>
              </a:pPr>
              <a:r>
                <a:rPr lang="en-US" altLang="fr-FR" sz="886" b="1" dirty="0">
                  <a:solidFill>
                    <a:srgbClr val="68665C"/>
                  </a:solidFill>
                </a:rPr>
                <a:t>Upstream (</a:t>
              </a:r>
              <a:r>
                <a:rPr lang="en-US" altLang="fr-FR" sz="886" b="1" dirty="0" err="1">
                  <a:solidFill>
                    <a:srgbClr val="68665C"/>
                  </a:solidFill>
                </a:rPr>
                <a:t>Agri</a:t>
              </a:r>
              <a:r>
                <a:rPr lang="en-US" altLang="fr-FR" sz="886" b="1" dirty="0">
                  <a:solidFill>
                    <a:srgbClr val="68665C"/>
                  </a:solidFill>
                </a:rPr>
                <a:t> Services)</a:t>
              </a:r>
            </a:p>
          </p:txBody>
        </p:sp>
        <p:sp>
          <p:nvSpPr>
            <p:cNvPr id="36" name="Rectangle 22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8643207" y="5643529"/>
              <a:ext cx="3143752" cy="3825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26" tIns="0" rIns="1226" bIns="0" anchor="ctr"/>
            <a:lstStyle>
              <a:lvl1pPr defTabSz="909638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09638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09638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09638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09638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096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096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096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096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287274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EC9BA2"/>
                </a:buClr>
              </a:pPr>
              <a:r>
                <a:rPr lang="en-US" altLang="fr-FR" sz="886" b="1" dirty="0">
                  <a:solidFill>
                    <a:srgbClr val="68665C"/>
                  </a:solidFill>
                </a:rPr>
                <a:t>Downstream (Food)</a:t>
              </a:r>
            </a:p>
          </p:txBody>
        </p:sp>
      </p:grpSp>
      <p:pic>
        <p:nvPicPr>
          <p:cNvPr id="37" name="Picture 2" descr="C:\Users\brichard-canavaggio\Desktop\Fotolia_43521191_L.jpg"/>
          <p:cNvPicPr>
            <a:picLocks noChangeAspect="1" noChangeArrowheads="1"/>
          </p:cNvPicPr>
          <p:nvPr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267746" y="1273575"/>
            <a:ext cx="1181639" cy="1153303"/>
          </a:xfrm>
          <a:prstGeom prst="rect">
            <a:avLst/>
          </a:prstGeom>
          <a:noFill/>
          <a:effectLst>
            <a:outerShdw blurRad="50800" dist="76200" dir="8100000" algn="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2"/>
          <p:cNvPicPr>
            <a:picLocks noChangeAspect="1"/>
          </p:cNvPicPr>
          <p:nvPr/>
        </p:nvPicPr>
        <p:blipFill>
          <a:blip r:embed="rId19" cstate="print">
            <a:duotone>
              <a:srgbClr val="B0002D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814" y="2807591"/>
            <a:ext cx="155569" cy="158612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41578" y="61489"/>
            <a:ext cx="480316" cy="480316"/>
          </a:xfrm>
          <a:prstGeom prst="rect">
            <a:avLst/>
          </a:prstGeom>
        </p:spPr>
      </p:pic>
      <p:cxnSp>
        <p:nvCxnSpPr>
          <p:cNvPr id="41" name="Straight Connector 40"/>
          <p:cNvCxnSpPr/>
          <p:nvPr/>
        </p:nvCxnSpPr>
        <p:spPr>
          <a:xfrm>
            <a:off x="3927534" y="926580"/>
            <a:ext cx="36782" cy="4075171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3" name="Imagem 42" descr="Uma imagem contendo céu, ao ar livre, vermelho&#10;&#10;Descrição gerada automaticamente">
            <a:extLst>
              <a:ext uri="{FF2B5EF4-FFF2-40B4-BE49-F238E27FC236}">
                <a16:creationId xmlns:a16="http://schemas.microsoft.com/office/drawing/2014/main" id="{FE092E19-2CC8-4ACA-8497-7C4240EC08FE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8385389" y="57760"/>
            <a:ext cx="449865" cy="554083"/>
          </a:xfrm>
          <a:prstGeom prst="rect">
            <a:avLst/>
          </a:prstGeom>
        </p:spPr>
      </p:pic>
      <p:pic>
        <p:nvPicPr>
          <p:cNvPr id="44" name="Picture 19" descr="C:\Users\Michelle\Pictures\Saved Pictures\Saved Pictures\Logo EN escrito verde.png">
            <a:extLst>
              <a:ext uri="{FF2B5EF4-FFF2-40B4-BE49-F238E27FC236}">
                <a16:creationId xmlns:a16="http://schemas.microsoft.com/office/drawing/2014/main" id="{0D4BB407-7287-4373-A17B-0BB2D75089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5316"/>
          <a:stretch/>
        </p:blipFill>
        <p:spPr bwMode="auto">
          <a:xfrm>
            <a:off x="149764" y="4417187"/>
            <a:ext cx="1044781" cy="544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5590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/>
          <p:cNvSpPr>
            <a:spLocks noChangeAspect="1"/>
          </p:cNvSpPr>
          <p:nvPr/>
        </p:nvSpPr>
        <p:spPr>
          <a:xfrm>
            <a:off x="2274" y="-1"/>
            <a:ext cx="9141726" cy="5143501"/>
          </a:xfrm>
          <a:prstGeom prst="rect">
            <a:avLst/>
          </a:prstGeom>
          <a:blipFill dpi="0" rotWithShape="1">
            <a:blip r:embed="rId3" cstate="email">
              <a:alphaModFix amt="30000"/>
              <a:grayscl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12861" b="-12789"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7" name="Imagem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3837" y="1996256"/>
            <a:ext cx="4038600" cy="1150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30594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ject 88"/>
          <p:cNvSpPr/>
          <p:nvPr/>
        </p:nvSpPr>
        <p:spPr>
          <a:xfrm>
            <a:off x="2289111" y="513600"/>
            <a:ext cx="0" cy="4183379"/>
          </a:xfrm>
          <a:custGeom>
            <a:avLst/>
            <a:gdLst/>
            <a:ahLst/>
            <a:cxnLst/>
            <a:rect l="l" t="t" r="r" b="b"/>
            <a:pathLst>
              <a:path h="4183379">
                <a:moveTo>
                  <a:pt x="0" y="0"/>
                </a:moveTo>
                <a:lnTo>
                  <a:pt x="0" y="4183329"/>
                </a:lnTo>
              </a:path>
            </a:pathLst>
          </a:custGeom>
          <a:ln w="12700">
            <a:solidFill>
              <a:schemeClr val="bg1"/>
            </a:solidFill>
            <a:prstDash val="dash"/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" name="object 89"/>
          <p:cNvSpPr/>
          <p:nvPr/>
        </p:nvSpPr>
        <p:spPr>
          <a:xfrm>
            <a:off x="191096" y="2598902"/>
            <a:ext cx="4183379" cy="0"/>
          </a:xfrm>
          <a:custGeom>
            <a:avLst/>
            <a:gdLst/>
            <a:ahLst/>
            <a:cxnLst/>
            <a:rect l="l" t="t" r="r" b="b"/>
            <a:pathLst>
              <a:path w="4183379">
                <a:moveTo>
                  <a:pt x="4183329" y="0"/>
                </a:moveTo>
                <a:lnTo>
                  <a:pt x="0" y="0"/>
                </a:lnTo>
              </a:path>
            </a:pathLst>
          </a:custGeom>
          <a:ln w="12700">
            <a:solidFill>
              <a:schemeClr val="bg1"/>
            </a:solidFill>
            <a:prstDash val="dash"/>
          </a:ln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1030" name="Picture 6" descr="C:\Users\Michelle\Downloads\chip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176" y="3295354"/>
            <a:ext cx="704998" cy="704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7" descr="C:\Users\Michelle\Downloads\graph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2426" y="3266853"/>
            <a:ext cx="704998" cy="704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:\Users\Michelle\Downloads\camera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2426" y="1391015"/>
            <a:ext cx="704998" cy="704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3" name="Picture 9" descr="C:\Users\Michelle\Downloads\graph-line-screen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176" y="1391015"/>
            <a:ext cx="704998" cy="704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9" descr="C:\Users\Michelle\Pictures\Saved Pictures\Saved Pictures\Logo EN escrito verde.pn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5316"/>
          <a:stretch/>
        </p:blipFill>
        <p:spPr bwMode="auto">
          <a:xfrm>
            <a:off x="8557053" y="4795047"/>
            <a:ext cx="447248" cy="233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object 11">
            <a:extLst>
              <a:ext uri="{FF2B5EF4-FFF2-40B4-BE49-F238E27FC236}">
                <a16:creationId xmlns:a16="http://schemas.microsoft.com/office/drawing/2014/main" id="{8C2AA44D-F48A-4685-8FFC-14D0B9C38BFB}"/>
              </a:ext>
            </a:extLst>
          </p:cNvPr>
          <p:cNvSpPr txBox="1"/>
          <p:nvPr/>
        </p:nvSpPr>
        <p:spPr>
          <a:xfrm>
            <a:off x="4895125" y="1810004"/>
            <a:ext cx="3924000" cy="17235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9525" marR="3810"/>
            <a:r>
              <a:rPr lang="en-US" sz="2800" dirty="0">
                <a:solidFill>
                  <a:schemeClr val="tx1"/>
                </a:solidFill>
                <a:latin typeface="Calibri"/>
                <a:cs typeface="Calibri"/>
              </a:rPr>
              <a:t>We use </a:t>
            </a:r>
            <a:r>
              <a:rPr lang="en-US" sz="2800" dirty="0">
                <a:solidFill>
                  <a:srgbClr val="26D4A6"/>
                </a:solidFill>
                <a:latin typeface="Calibri"/>
                <a:cs typeface="Calibri"/>
              </a:rPr>
              <a:t>computer vision </a:t>
            </a:r>
            <a:r>
              <a:rPr lang="en-US" sz="2800" dirty="0">
                <a:solidFill>
                  <a:schemeClr val="tx1"/>
                </a:solidFill>
                <a:latin typeface="Calibri"/>
                <a:cs typeface="Calibri"/>
              </a:rPr>
              <a:t>and</a:t>
            </a:r>
            <a:r>
              <a:rPr lang="en-US" sz="2800" dirty="0">
                <a:solidFill>
                  <a:srgbClr val="26D4A6"/>
                </a:solidFill>
                <a:latin typeface="Calibri"/>
                <a:cs typeface="Calibri"/>
              </a:rPr>
              <a:t> artificial intelligence </a:t>
            </a:r>
            <a:r>
              <a:rPr lang="en-US" sz="2800" dirty="0">
                <a:solidFill>
                  <a:schemeClr val="tx1"/>
                </a:solidFill>
                <a:latin typeface="Calibri"/>
                <a:cs typeface="Calibri"/>
              </a:rPr>
              <a:t>to </a:t>
            </a:r>
            <a:r>
              <a:rPr lang="en-US" sz="2800" b="1" dirty="0">
                <a:solidFill>
                  <a:schemeClr val="tx1"/>
                </a:solidFill>
                <a:latin typeface="Calibri"/>
                <a:cs typeface="Calibri"/>
              </a:rPr>
              <a:t>improve performances </a:t>
            </a:r>
            <a:r>
              <a:rPr lang="en-US" sz="2800" dirty="0">
                <a:solidFill>
                  <a:schemeClr val="tx1"/>
                </a:solidFill>
                <a:latin typeface="Calibri"/>
                <a:cs typeface="Calibri"/>
              </a:rPr>
              <a:t>in the Agro market.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Uma imagem contendo homem, interior, preparando&#10;&#10;Descrição gerada automaticamente">
            <a:extLst>
              <a:ext uri="{FF2B5EF4-FFF2-40B4-BE49-F238E27FC236}">
                <a16:creationId xmlns:a16="http://schemas.microsoft.com/office/drawing/2014/main" id="{DFCA7888-0F6D-4EDA-93C9-FFABC1037E3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125" r="10093"/>
          <a:stretch/>
        </p:blipFill>
        <p:spPr>
          <a:xfrm>
            <a:off x="274130" y="3083814"/>
            <a:ext cx="2543408" cy="1815993"/>
          </a:xfrm>
          <a:prstGeom prst="rect">
            <a:avLst/>
          </a:prstGeom>
        </p:spPr>
      </p:pic>
      <p:sp>
        <p:nvSpPr>
          <p:cNvPr id="40" name="Retângulo 39"/>
          <p:cNvSpPr/>
          <p:nvPr/>
        </p:nvSpPr>
        <p:spPr>
          <a:xfrm>
            <a:off x="4286296" y="372139"/>
            <a:ext cx="674000" cy="467833"/>
          </a:xfrm>
          <a:prstGeom prst="rect">
            <a:avLst/>
          </a:prstGeom>
          <a:solidFill>
            <a:srgbClr val="26D4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sp>
        <p:nvSpPr>
          <p:cNvPr id="41" name="object 16"/>
          <p:cNvSpPr txBox="1"/>
          <p:nvPr/>
        </p:nvSpPr>
        <p:spPr>
          <a:xfrm>
            <a:off x="535111" y="238509"/>
            <a:ext cx="7949482" cy="8617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/>
            <a:r>
              <a:rPr lang="pt-BR" sz="2800" dirty="0" err="1">
                <a:solidFill>
                  <a:schemeClr val="bg2">
                    <a:lumMod val="75000"/>
                  </a:schemeClr>
                </a:solidFill>
                <a:latin typeface="Century Gothic" panose="020B0502020202020204" pitchFamily="34" charset="0"/>
                <a:cs typeface="Calibri"/>
              </a:rPr>
              <a:t>Certification</a:t>
            </a:r>
            <a:r>
              <a:rPr lang="pt-BR" sz="2800" dirty="0">
                <a:solidFill>
                  <a:schemeClr val="bg2">
                    <a:lumMod val="75000"/>
                  </a:schemeClr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lang="pt-BR" sz="2800" dirty="0" err="1">
                <a:solidFill>
                  <a:schemeClr val="bg2">
                    <a:lumMod val="75000"/>
                  </a:schemeClr>
                </a:solidFill>
                <a:latin typeface="Century Gothic" panose="020B0502020202020204" pitchFamily="34" charset="0"/>
                <a:cs typeface="Calibri"/>
              </a:rPr>
              <a:t>and</a:t>
            </a:r>
            <a:r>
              <a:rPr lang="pt-BR" sz="2800" dirty="0">
                <a:solidFill>
                  <a:schemeClr val="bg2">
                    <a:lumMod val="75000"/>
                  </a:schemeClr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lang="pt-BR" sz="2800" dirty="0" err="1">
                <a:solidFill>
                  <a:schemeClr val="bg2">
                    <a:lumMod val="75000"/>
                  </a:schemeClr>
                </a:solidFill>
                <a:latin typeface="Century Gothic" panose="020B0502020202020204" pitchFamily="34" charset="0"/>
                <a:cs typeface="Calibri"/>
              </a:rPr>
              <a:t>Classification</a:t>
            </a:r>
            <a:r>
              <a:rPr lang="pt-BR" sz="2800" dirty="0">
                <a:solidFill>
                  <a:schemeClr val="bg2">
                    <a:lumMod val="75000"/>
                  </a:schemeClr>
                </a:solidFill>
                <a:latin typeface="Century Gothic" panose="020B0502020202020204" pitchFamily="34" charset="0"/>
                <a:cs typeface="Calibri"/>
              </a:rPr>
              <a:t>:</a:t>
            </a:r>
          </a:p>
          <a:p>
            <a:pPr marL="12700" algn="ctr"/>
            <a:r>
              <a:rPr lang="pt-BR" sz="2800" dirty="0">
                <a:solidFill>
                  <a:schemeClr val="bg2">
                    <a:lumMod val="75000"/>
                  </a:schemeClr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lang="pt-BR" sz="2800" dirty="0" err="1">
                <a:solidFill>
                  <a:schemeClr val="bg2">
                    <a:lumMod val="75000"/>
                  </a:schemeClr>
                </a:solidFill>
                <a:latin typeface="Century Gothic" panose="020B0502020202020204" pitchFamily="34" charset="0"/>
                <a:cs typeface="Calibri"/>
              </a:rPr>
              <a:t>today´s</a:t>
            </a:r>
            <a:r>
              <a:rPr lang="pt-BR" sz="2800" dirty="0">
                <a:solidFill>
                  <a:schemeClr val="bg2">
                    <a:lumMod val="75000"/>
                  </a:schemeClr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lang="pt-BR" sz="2800" dirty="0" err="1">
                <a:solidFill>
                  <a:schemeClr val="bg2">
                    <a:lumMod val="75000"/>
                  </a:schemeClr>
                </a:solidFill>
                <a:latin typeface="Century Gothic" panose="020B0502020202020204" pitchFamily="34" charset="0"/>
                <a:cs typeface="Calibri"/>
              </a:rPr>
              <a:t>practises</a:t>
            </a:r>
            <a:endParaRPr lang="pt-BR" sz="2800" dirty="0">
              <a:solidFill>
                <a:schemeClr val="bg2">
                  <a:lumMod val="75000"/>
                </a:schemeClr>
              </a:solidFill>
              <a:latin typeface="Century Gothic" panose="020B0502020202020204" pitchFamily="34" charset="0"/>
              <a:cs typeface="Calibri"/>
            </a:endParaRPr>
          </a:p>
        </p:txBody>
      </p:sp>
      <p:pic>
        <p:nvPicPr>
          <p:cNvPr id="21" name="Imagem 2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54840" y="1528548"/>
            <a:ext cx="2471785" cy="3026352"/>
          </a:xfrm>
          <a:prstGeom prst="rect">
            <a:avLst/>
          </a:prstGeom>
        </p:spPr>
      </p:pic>
      <p:pic>
        <p:nvPicPr>
          <p:cNvPr id="8" name="Imagem 7" descr="Uma imagem contendo interior, parede, homem, pessoa&#10;&#10;Descrição gerada automaticamente">
            <a:extLst>
              <a:ext uri="{FF2B5EF4-FFF2-40B4-BE49-F238E27FC236}">
                <a16:creationId xmlns:a16="http://schemas.microsoft.com/office/drawing/2014/main" id="{7F3EACA2-724C-40D0-A87C-73C00328EA8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12011"/>
          <a:stretch/>
        </p:blipFill>
        <p:spPr>
          <a:xfrm>
            <a:off x="274130" y="1363288"/>
            <a:ext cx="2543408" cy="1678436"/>
          </a:xfrm>
          <a:prstGeom prst="rect">
            <a:avLst/>
          </a:prstGeom>
        </p:spPr>
      </p:pic>
      <p:pic>
        <p:nvPicPr>
          <p:cNvPr id="10" name="Imagem 9" descr="Uma imagem contendo pessoa, parede, interior, mesa&#10;&#10;Descrição gerada automaticamente">
            <a:extLst>
              <a:ext uri="{FF2B5EF4-FFF2-40B4-BE49-F238E27FC236}">
                <a16:creationId xmlns:a16="http://schemas.microsoft.com/office/drawing/2014/main" id="{CC8C76A1-CD74-441E-BA48-AF34979B627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8520"/>
          <a:stretch/>
        </p:blipFill>
        <p:spPr>
          <a:xfrm>
            <a:off x="2871892" y="1363288"/>
            <a:ext cx="2729655" cy="1678436"/>
          </a:xfrm>
          <a:prstGeom prst="rect">
            <a:avLst/>
          </a:prstGeom>
        </p:spPr>
      </p:pic>
      <p:pic>
        <p:nvPicPr>
          <p:cNvPr id="12" name="Imagem 11" descr="Uma imagem contendo mesa, pessoa, interior, sentado&#10;&#10;Descrição gerada automaticamente">
            <a:extLst>
              <a:ext uri="{FF2B5EF4-FFF2-40B4-BE49-F238E27FC236}">
                <a16:creationId xmlns:a16="http://schemas.microsoft.com/office/drawing/2014/main" id="{1F6EE042-673D-47B3-95E0-E261B46885BC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10154"/>
          <a:stretch/>
        </p:blipFill>
        <p:spPr>
          <a:xfrm>
            <a:off x="2871893" y="3083814"/>
            <a:ext cx="2728431" cy="1822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6921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upo 34"/>
          <p:cNvGrpSpPr/>
          <p:nvPr/>
        </p:nvGrpSpPr>
        <p:grpSpPr>
          <a:xfrm>
            <a:off x="690191" y="4428311"/>
            <a:ext cx="7933894" cy="413864"/>
            <a:chOff x="603033" y="4233521"/>
            <a:chExt cx="7780410" cy="405857"/>
          </a:xfrm>
        </p:grpSpPr>
        <p:sp>
          <p:nvSpPr>
            <p:cNvPr id="17" name="object 78"/>
            <p:cNvSpPr txBox="1"/>
            <p:nvPr/>
          </p:nvSpPr>
          <p:spPr>
            <a:xfrm>
              <a:off x="1108320" y="4287252"/>
              <a:ext cx="1459230" cy="35212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ts val="1430"/>
                </a:lnSpc>
              </a:pPr>
              <a:r>
                <a:rPr lang="en-US" sz="1200" b="1" dirty="0">
                  <a:solidFill>
                    <a:srgbClr val="414042"/>
                  </a:solidFill>
                  <a:latin typeface="Calibri"/>
                  <a:cs typeface="Calibri"/>
                </a:rPr>
                <a:t>Lack of standardization </a:t>
              </a:r>
              <a:r>
                <a:rPr lang="en-US" sz="1200" dirty="0">
                  <a:solidFill>
                    <a:srgbClr val="414042"/>
                  </a:solidFill>
                  <a:latin typeface="Calibri"/>
                  <a:cs typeface="Calibri"/>
                </a:rPr>
                <a:t>(human subjectivity)</a:t>
              </a:r>
            </a:p>
          </p:txBody>
        </p:sp>
        <p:sp>
          <p:nvSpPr>
            <p:cNvPr id="18" name="object 79"/>
            <p:cNvSpPr txBox="1"/>
            <p:nvPr/>
          </p:nvSpPr>
          <p:spPr>
            <a:xfrm>
              <a:off x="5111510" y="4241608"/>
              <a:ext cx="1350645" cy="36218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5080"/>
              <a:r>
                <a:rPr lang="en-US" sz="1200" b="1" dirty="0">
                  <a:solidFill>
                    <a:srgbClr val="414042"/>
                  </a:solidFill>
                  <a:latin typeface="Calibri"/>
                  <a:cs typeface="Calibri"/>
                </a:rPr>
                <a:t>High necessity of hand labor</a:t>
              </a:r>
            </a:p>
          </p:txBody>
        </p:sp>
        <p:sp>
          <p:nvSpPr>
            <p:cNvPr id="19" name="object 80"/>
            <p:cNvSpPr txBox="1"/>
            <p:nvPr/>
          </p:nvSpPr>
          <p:spPr>
            <a:xfrm>
              <a:off x="7366808" y="4341046"/>
              <a:ext cx="1016635" cy="18466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/>
              <a:r>
                <a:rPr lang="pt-BR" sz="1200" b="1" dirty="0" err="1">
                  <a:solidFill>
                    <a:srgbClr val="414042"/>
                  </a:solidFill>
                  <a:latin typeface="Calibri"/>
                  <a:cs typeface="Calibri"/>
                </a:rPr>
                <a:t>Elevated</a:t>
              </a:r>
              <a:r>
                <a:rPr lang="pt-BR" sz="1200" b="1" dirty="0">
                  <a:solidFill>
                    <a:srgbClr val="414042"/>
                  </a:solidFill>
                  <a:latin typeface="Calibri"/>
                  <a:cs typeface="Calibri"/>
                </a:rPr>
                <a:t> time</a:t>
              </a:r>
            </a:p>
          </p:txBody>
        </p:sp>
        <p:sp>
          <p:nvSpPr>
            <p:cNvPr id="20" name="object 81"/>
            <p:cNvSpPr txBox="1"/>
            <p:nvPr/>
          </p:nvSpPr>
          <p:spPr>
            <a:xfrm>
              <a:off x="3361998" y="4341046"/>
              <a:ext cx="963930" cy="18466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/>
              <a:r>
                <a:rPr lang="pt-BR" sz="1200" b="1" dirty="0">
                  <a:solidFill>
                    <a:srgbClr val="414042"/>
                  </a:solidFill>
                  <a:latin typeface="Calibri"/>
                  <a:cs typeface="Calibri"/>
                </a:rPr>
                <a:t>High </a:t>
              </a:r>
              <a:r>
                <a:rPr lang="pt-BR" sz="1200" b="1" dirty="0" err="1">
                  <a:solidFill>
                    <a:srgbClr val="414042"/>
                  </a:solidFill>
                  <a:latin typeface="Calibri"/>
                  <a:cs typeface="Calibri"/>
                </a:rPr>
                <a:t>Cost</a:t>
              </a:r>
              <a:endParaRPr lang="pt-BR" sz="1200" b="1" dirty="0">
                <a:solidFill>
                  <a:srgbClr val="414042"/>
                </a:solidFill>
                <a:latin typeface="Calibri"/>
                <a:cs typeface="Calibri"/>
              </a:endParaRPr>
            </a:p>
          </p:txBody>
        </p:sp>
        <p:pic>
          <p:nvPicPr>
            <p:cNvPr id="22" name="Picture 5" descr="C:\Users\Michelle\Downloads\error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2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3033" y="4233859"/>
              <a:ext cx="399040" cy="3990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5" descr="C:\Users\Michelle\Downloads\error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2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85466" y="4233521"/>
              <a:ext cx="399040" cy="3990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5" descr="C:\Users\Michelle\Downloads\error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2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90276" y="4233859"/>
              <a:ext cx="399040" cy="3990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5" descr="C:\Users\Michelle\Downloads\error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2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07844" y="4233859"/>
              <a:ext cx="399040" cy="3990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8" name="Grupo 37"/>
          <p:cNvGrpSpPr/>
          <p:nvPr/>
        </p:nvGrpSpPr>
        <p:grpSpPr>
          <a:xfrm>
            <a:off x="958245" y="2646218"/>
            <a:ext cx="7045026" cy="1549049"/>
            <a:chOff x="724187" y="2435816"/>
            <a:chExt cx="7607746" cy="1672779"/>
          </a:xfrm>
        </p:grpSpPr>
        <p:sp>
          <p:nvSpPr>
            <p:cNvPr id="10" name="object 65"/>
            <p:cNvSpPr txBox="1"/>
            <p:nvPr/>
          </p:nvSpPr>
          <p:spPr>
            <a:xfrm>
              <a:off x="2095400" y="3485418"/>
              <a:ext cx="1572438" cy="39883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/>
              <a:r>
                <a:rPr lang="pt-BR" sz="1200" b="1" dirty="0">
                  <a:solidFill>
                    <a:schemeClr val="tx2">
                      <a:lumMod val="25000"/>
                    </a:schemeClr>
                  </a:solidFill>
                  <a:latin typeface="Calibri"/>
                  <a:cs typeface="Calibri"/>
                </a:rPr>
                <a:t>Manual </a:t>
              </a:r>
              <a:r>
                <a:rPr lang="pt-BR" sz="1200" b="1" dirty="0" err="1">
                  <a:solidFill>
                    <a:schemeClr val="tx2">
                      <a:lumMod val="25000"/>
                    </a:schemeClr>
                  </a:solidFill>
                  <a:latin typeface="Calibri"/>
                  <a:cs typeface="Calibri"/>
                </a:rPr>
                <a:t>or</a:t>
              </a:r>
              <a:r>
                <a:rPr lang="pt-BR" sz="1200" b="1" dirty="0">
                  <a:solidFill>
                    <a:schemeClr val="tx2">
                      <a:lumMod val="25000"/>
                    </a:schemeClr>
                  </a:solidFill>
                  <a:latin typeface="Calibri"/>
                  <a:cs typeface="Calibri"/>
                </a:rPr>
                <a:t> </a:t>
              </a:r>
              <a:r>
                <a:rPr lang="pt-BR" sz="1200" b="1" dirty="0" err="1">
                  <a:solidFill>
                    <a:schemeClr val="tx2">
                      <a:lumMod val="25000"/>
                    </a:schemeClr>
                  </a:solidFill>
                  <a:latin typeface="Calibri"/>
                  <a:cs typeface="Calibri"/>
                </a:rPr>
                <a:t>chemical</a:t>
              </a:r>
              <a:r>
                <a:rPr lang="pt-BR" sz="1200" b="1" dirty="0">
                  <a:solidFill>
                    <a:schemeClr val="tx2">
                      <a:lumMod val="25000"/>
                    </a:schemeClr>
                  </a:solidFill>
                  <a:latin typeface="Calibri"/>
                  <a:cs typeface="Calibri"/>
                </a:rPr>
                <a:t> </a:t>
              </a:r>
              <a:r>
                <a:rPr lang="pt-BR" sz="1200" b="1" dirty="0" err="1">
                  <a:solidFill>
                    <a:schemeClr val="tx2">
                      <a:lumMod val="25000"/>
                    </a:schemeClr>
                  </a:solidFill>
                  <a:latin typeface="Calibri"/>
                  <a:cs typeface="Calibri"/>
                </a:rPr>
                <a:t>analysis</a:t>
              </a:r>
              <a:endParaRPr lang="pt-BR" sz="1200" b="1" dirty="0">
                <a:solidFill>
                  <a:schemeClr val="tx2">
                    <a:lumMod val="25000"/>
                  </a:schemeClr>
                </a:solidFill>
                <a:latin typeface="Calibri"/>
                <a:cs typeface="Calibri"/>
              </a:endParaRPr>
            </a:p>
          </p:txBody>
        </p:sp>
        <p:grpSp>
          <p:nvGrpSpPr>
            <p:cNvPr id="36" name="Grupo 35"/>
            <p:cNvGrpSpPr/>
            <p:nvPr/>
          </p:nvGrpSpPr>
          <p:grpSpPr>
            <a:xfrm>
              <a:off x="724187" y="2435816"/>
              <a:ext cx="7607746" cy="1672779"/>
              <a:chOff x="551226" y="2139563"/>
              <a:chExt cx="7780601" cy="1710786"/>
            </a:xfrm>
          </p:grpSpPr>
          <p:sp>
            <p:nvSpPr>
              <p:cNvPr id="6" name="object 58"/>
              <p:cNvSpPr/>
              <p:nvPr/>
            </p:nvSpPr>
            <p:spPr>
              <a:xfrm flipH="1">
                <a:off x="579889" y="2153990"/>
                <a:ext cx="947005" cy="947006"/>
              </a:xfrm>
              <a:custGeom>
                <a:avLst/>
                <a:gdLst/>
                <a:ahLst/>
                <a:cxnLst/>
                <a:rect l="l" t="t" r="r" b="b"/>
                <a:pathLst>
                  <a:path w="1047115" h="1047114">
                    <a:moveTo>
                      <a:pt x="523252" y="1046505"/>
                    </a:moveTo>
                    <a:lnTo>
                      <a:pt x="570879" y="1044367"/>
                    </a:lnTo>
                    <a:lnTo>
                      <a:pt x="617309" y="1038075"/>
                    </a:lnTo>
                    <a:lnTo>
                      <a:pt x="662355" y="1027814"/>
                    </a:lnTo>
                    <a:lnTo>
                      <a:pt x="705834" y="1013769"/>
                    </a:lnTo>
                    <a:lnTo>
                      <a:pt x="747560" y="996125"/>
                    </a:lnTo>
                    <a:lnTo>
                      <a:pt x="787350" y="975066"/>
                    </a:lnTo>
                    <a:lnTo>
                      <a:pt x="825017" y="950778"/>
                    </a:lnTo>
                    <a:lnTo>
                      <a:pt x="860379" y="923444"/>
                    </a:lnTo>
                    <a:lnTo>
                      <a:pt x="893249" y="893249"/>
                    </a:lnTo>
                    <a:lnTo>
                      <a:pt x="923444" y="860379"/>
                    </a:lnTo>
                    <a:lnTo>
                      <a:pt x="950778" y="825017"/>
                    </a:lnTo>
                    <a:lnTo>
                      <a:pt x="975066" y="787350"/>
                    </a:lnTo>
                    <a:lnTo>
                      <a:pt x="996125" y="747560"/>
                    </a:lnTo>
                    <a:lnTo>
                      <a:pt x="1013769" y="705834"/>
                    </a:lnTo>
                    <a:lnTo>
                      <a:pt x="1027814" y="662355"/>
                    </a:lnTo>
                    <a:lnTo>
                      <a:pt x="1038075" y="617309"/>
                    </a:lnTo>
                    <a:lnTo>
                      <a:pt x="1044367" y="570879"/>
                    </a:lnTo>
                    <a:lnTo>
                      <a:pt x="1046505" y="523252"/>
                    </a:lnTo>
                    <a:lnTo>
                      <a:pt x="1044367" y="475625"/>
                    </a:lnTo>
                    <a:lnTo>
                      <a:pt x="1038075" y="429196"/>
                    </a:lnTo>
                    <a:lnTo>
                      <a:pt x="1027814" y="384150"/>
                    </a:lnTo>
                    <a:lnTo>
                      <a:pt x="1013769" y="340671"/>
                    </a:lnTo>
                    <a:lnTo>
                      <a:pt x="996125" y="298944"/>
                    </a:lnTo>
                    <a:lnTo>
                      <a:pt x="975066" y="259155"/>
                    </a:lnTo>
                    <a:lnTo>
                      <a:pt x="950778" y="221487"/>
                    </a:lnTo>
                    <a:lnTo>
                      <a:pt x="923444" y="186125"/>
                    </a:lnTo>
                    <a:lnTo>
                      <a:pt x="893249" y="153255"/>
                    </a:lnTo>
                    <a:lnTo>
                      <a:pt x="860379" y="123061"/>
                    </a:lnTo>
                    <a:lnTo>
                      <a:pt x="825017" y="95727"/>
                    </a:lnTo>
                    <a:lnTo>
                      <a:pt x="787350" y="71438"/>
                    </a:lnTo>
                    <a:lnTo>
                      <a:pt x="747560" y="50379"/>
                    </a:lnTo>
                    <a:lnTo>
                      <a:pt x="705834" y="32735"/>
                    </a:lnTo>
                    <a:lnTo>
                      <a:pt x="662355" y="18690"/>
                    </a:lnTo>
                    <a:lnTo>
                      <a:pt x="617309" y="8430"/>
                    </a:lnTo>
                    <a:lnTo>
                      <a:pt x="570879" y="2138"/>
                    </a:lnTo>
                    <a:lnTo>
                      <a:pt x="523252" y="0"/>
                    </a:lnTo>
                    <a:lnTo>
                      <a:pt x="475625" y="2138"/>
                    </a:lnTo>
                    <a:lnTo>
                      <a:pt x="429196" y="8430"/>
                    </a:lnTo>
                    <a:lnTo>
                      <a:pt x="384150" y="18690"/>
                    </a:lnTo>
                    <a:lnTo>
                      <a:pt x="340671" y="32735"/>
                    </a:lnTo>
                    <a:lnTo>
                      <a:pt x="298944" y="50379"/>
                    </a:lnTo>
                    <a:lnTo>
                      <a:pt x="259155" y="71438"/>
                    </a:lnTo>
                    <a:lnTo>
                      <a:pt x="221487" y="95727"/>
                    </a:lnTo>
                    <a:lnTo>
                      <a:pt x="186125" y="123061"/>
                    </a:lnTo>
                    <a:lnTo>
                      <a:pt x="153255" y="153255"/>
                    </a:lnTo>
                    <a:lnTo>
                      <a:pt x="123061" y="186125"/>
                    </a:lnTo>
                    <a:lnTo>
                      <a:pt x="95727" y="221487"/>
                    </a:lnTo>
                    <a:lnTo>
                      <a:pt x="71438" y="259155"/>
                    </a:lnTo>
                    <a:lnTo>
                      <a:pt x="50379" y="298944"/>
                    </a:lnTo>
                    <a:lnTo>
                      <a:pt x="32735" y="340671"/>
                    </a:lnTo>
                    <a:lnTo>
                      <a:pt x="18690" y="384150"/>
                    </a:lnTo>
                    <a:lnTo>
                      <a:pt x="8430" y="429196"/>
                    </a:lnTo>
                    <a:lnTo>
                      <a:pt x="2138" y="475625"/>
                    </a:lnTo>
                    <a:lnTo>
                      <a:pt x="0" y="523252"/>
                    </a:lnTo>
                    <a:lnTo>
                      <a:pt x="2138" y="570879"/>
                    </a:lnTo>
                    <a:lnTo>
                      <a:pt x="8430" y="617309"/>
                    </a:lnTo>
                    <a:lnTo>
                      <a:pt x="18690" y="662355"/>
                    </a:lnTo>
                    <a:lnTo>
                      <a:pt x="32735" y="705834"/>
                    </a:lnTo>
                    <a:lnTo>
                      <a:pt x="50379" y="747560"/>
                    </a:lnTo>
                    <a:lnTo>
                      <a:pt x="71438" y="787350"/>
                    </a:lnTo>
                    <a:lnTo>
                      <a:pt x="95727" y="825017"/>
                    </a:lnTo>
                    <a:lnTo>
                      <a:pt x="123061" y="860379"/>
                    </a:lnTo>
                    <a:lnTo>
                      <a:pt x="153255" y="893249"/>
                    </a:lnTo>
                    <a:lnTo>
                      <a:pt x="186125" y="923444"/>
                    </a:lnTo>
                    <a:lnTo>
                      <a:pt x="221487" y="950778"/>
                    </a:lnTo>
                    <a:lnTo>
                      <a:pt x="259155" y="975066"/>
                    </a:lnTo>
                    <a:lnTo>
                      <a:pt x="298944" y="996125"/>
                    </a:lnTo>
                    <a:lnTo>
                      <a:pt x="340671" y="1013769"/>
                    </a:lnTo>
                    <a:lnTo>
                      <a:pt x="384150" y="1027814"/>
                    </a:lnTo>
                    <a:lnTo>
                      <a:pt x="429196" y="1038075"/>
                    </a:lnTo>
                    <a:lnTo>
                      <a:pt x="475625" y="1044367"/>
                    </a:lnTo>
                    <a:lnTo>
                      <a:pt x="523252" y="1046505"/>
                    </a:lnTo>
                    <a:close/>
                  </a:path>
                </a:pathLst>
              </a:custGeom>
              <a:blipFill dpi="0" rotWithShape="1"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63500">
                <a:solidFill>
                  <a:schemeClr val="tx1"/>
                </a:solidFill>
              </a:ln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7" name="object 59"/>
              <p:cNvSpPr/>
              <p:nvPr/>
            </p:nvSpPr>
            <p:spPr>
              <a:xfrm>
                <a:off x="2284174" y="2153990"/>
                <a:ext cx="947005" cy="947006"/>
              </a:xfrm>
              <a:custGeom>
                <a:avLst/>
                <a:gdLst/>
                <a:ahLst/>
                <a:cxnLst/>
                <a:rect l="l" t="t" r="r" b="b"/>
                <a:pathLst>
                  <a:path w="1047114" h="1047114">
                    <a:moveTo>
                      <a:pt x="523252" y="1046505"/>
                    </a:moveTo>
                    <a:lnTo>
                      <a:pt x="570879" y="1044367"/>
                    </a:lnTo>
                    <a:lnTo>
                      <a:pt x="617309" y="1038075"/>
                    </a:lnTo>
                    <a:lnTo>
                      <a:pt x="662355" y="1027814"/>
                    </a:lnTo>
                    <a:lnTo>
                      <a:pt x="705834" y="1013769"/>
                    </a:lnTo>
                    <a:lnTo>
                      <a:pt x="747560" y="996125"/>
                    </a:lnTo>
                    <a:lnTo>
                      <a:pt x="787350" y="975066"/>
                    </a:lnTo>
                    <a:lnTo>
                      <a:pt x="825017" y="950778"/>
                    </a:lnTo>
                    <a:lnTo>
                      <a:pt x="860379" y="923444"/>
                    </a:lnTo>
                    <a:lnTo>
                      <a:pt x="893249" y="893249"/>
                    </a:lnTo>
                    <a:lnTo>
                      <a:pt x="923444" y="860379"/>
                    </a:lnTo>
                    <a:lnTo>
                      <a:pt x="950778" y="825017"/>
                    </a:lnTo>
                    <a:lnTo>
                      <a:pt x="975066" y="787350"/>
                    </a:lnTo>
                    <a:lnTo>
                      <a:pt x="996125" y="747560"/>
                    </a:lnTo>
                    <a:lnTo>
                      <a:pt x="1013769" y="705834"/>
                    </a:lnTo>
                    <a:lnTo>
                      <a:pt x="1027814" y="662355"/>
                    </a:lnTo>
                    <a:lnTo>
                      <a:pt x="1038075" y="617309"/>
                    </a:lnTo>
                    <a:lnTo>
                      <a:pt x="1044367" y="570879"/>
                    </a:lnTo>
                    <a:lnTo>
                      <a:pt x="1046505" y="523252"/>
                    </a:lnTo>
                    <a:lnTo>
                      <a:pt x="1044367" y="475625"/>
                    </a:lnTo>
                    <a:lnTo>
                      <a:pt x="1038075" y="429196"/>
                    </a:lnTo>
                    <a:lnTo>
                      <a:pt x="1027814" y="384150"/>
                    </a:lnTo>
                    <a:lnTo>
                      <a:pt x="1013769" y="340671"/>
                    </a:lnTo>
                    <a:lnTo>
                      <a:pt x="996125" y="298944"/>
                    </a:lnTo>
                    <a:lnTo>
                      <a:pt x="975066" y="259155"/>
                    </a:lnTo>
                    <a:lnTo>
                      <a:pt x="950778" y="221487"/>
                    </a:lnTo>
                    <a:lnTo>
                      <a:pt x="923444" y="186125"/>
                    </a:lnTo>
                    <a:lnTo>
                      <a:pt x="893249" y="153255"/>
                    </a:lnTo>
                    <a:lnTo>
                      <a:pt x="860379" y="123061"/>
                    </a:lnTo>
                    <a:lnTo>
                      <a:pt x="825017" y="95727"/>
                    </a:lnTo>
                    <a:lnTo>
                      <a:pt x="787350" y="71438"/>
                    </a:lnTo>
                    <a:lnTo>
                      <a:pt x="747560" y="50379"/>
                    </a:lnTo>
                    <a:lnTo>
                      <a:pt x="705834" y="32735"/>
                    </a:lnTo>
                    <a:lnTo>
                      <a:pt x="662355" y="18690"/>
                    </a:lnTo>
                    <a:lnTo>
                      <a:pt x="617309" y="8430"/>
                    </a:lnTo>
                    <a:lnTo>
                      <a:pt x="570879" y="2138"/>
                    </a:lnTo>
                    <a:lnTo>
                      <a:pt x="523252" y="0"/>
                    </a:lnTo>
                    <a:lnTo>
                      <a:pt x="475625" y="2138"/>
                    </a:lnTo>
                    <a:lnTo>
                      <a:pt x="429196" y="8430"/>
                    </a:lnTo>
                    <a:lnTo>
                      <a:pt x="384150" y="18690"/>
                    </a:lnTo>
                    <a:lnTo>
                      <a:pt x="340671" y="32735"/>
                    </a:lnTo>
                    <a:lnTo>
                      <a:pt x="298944" y="50379"/>
                    </a:lnTo>
                    <a:lnTo>
                      <a:pt x="259155" y="71438"/>
                    </a:lnTo>
                    <a:lnTo>
                      <a:pt x="221487" y="95727"/>
                    </a:lnTo>
                    <a:lnTo>
                      <a:pt x="186125" y="123061"/>
                    </a:lnTo>
                    <a:lnTo>
                      <a:pt x="153255" y="153255"/>
                    </a:lnTo>
                    <a:lnTo>
                      <a:pt x="123061" y="186125"/>
                    </a:lnTo>
                    <a:lnTo>
                      <a:pt x="95727" y="221487"/>
                    </a:lnTo>
                    <a:lnTo>
                      <a:pt x="71438" y="259155"/>
                    </a:lnTo>
                    <a:lnTo>
                      <a:pt x="50379" y="298944"/>
                    </a:lnTo>
                    <a:lnTo>
                      <a:pt x="32735" y="340671"/>
                    </a:lnTo>
                    <a:lnTo>
                      <a:pt x="18690" y="384150"/>
                    </a:lnTo>
                    <a:lnTo>
                      <a:pt x="8430" y="429196"/>
                    </a:lnTo>
                    <a:lnTo>
                      <a:pt x="2138" y="475625"/>
                    </a:lnTo>
                    <a:lnTo>
                      <a:pt x="0" y="523252"/>
                    </a:lnTo>
                    <a:lnTo>
                      <a:pt x="2138" y="570879"/>
                    </a:lnTo>
                    <a:lnTo>
                      <a:pt x="8430" y="617309"/>
                    </a:lnTo>
                    <a:lnTo>
                      <a:pt x="18690" y="662355"/>
                    </a:lnTo>
                    <a:lnTo>
                      <a:pt x="32735" y="705834"/>
                    </a:lnTo>
                    <a:lnTo>
                      <a:pt x="50379" y="747560"/>
                    </a:lnTo>
                    <a:lnTo>
                      <a:pt x="71438" y="787350"/>
                    </a:lnTo>
                    <a:lnTo>
                      <a:pt x="95727" y="825017"/>
                    </a:lnTo>
                    <a:lnTo>
                      <a:pt x="123061" y="860379"/>
                    </a:lnTo>
                    <a:lnTo>
                      <a:pt x="153255" y="893249"/>
                    </a:lnTo>
                    <a:lnTo>
                      <a:pt x="186125" y="923444"/>
                    </a:lnTo>
                    <a:lnTo>
                      <a:pt x="221487" y="950778"/>
                    </a:lnTo>
                    <a:lnTo>
                      <a:pt x="259155" y="975066"/>
                    </a:lnTo>
                    <a:lnTo>
                      <a:pt x="298944" y="996125"/>
                    </a:lnTo>
                    <a:lnTo>
                      <a:pt x="340671" y="1013769"/>
                    </a:lnTo>
                    <a:lnTo>
                      <a:pt x="384150" y="1027814"/>
                    </a:lnTo>
                    <a:lnTo>
                      <a:pt x="429196" y="1038075"/>
                    </a:lnTo>
                    <a:lnTo>
                      <a:pt x="475625" y="1044367"/>
                    </a:lnTo>
                    <a:lnTo>
                      <a:pt x="523252" y="1046505"/>
                    </a:lnTo>
                    <a:close/>
                  </a:path>
                </a:pathLst>
              </a:custGeom>
              <a:solidFill>
                <a:schemeClr val="bg1"/>
              </a:solidFill>
              <a:ln w="63500">
                <a:solidFill>
                  <a:schemeClr val="tx1"/>
                </a:solidFill>
              </a:ln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8" name="object 60"/>
              <p:cNvSpPr/>
              <p:nvPr/>
            </p:nvSpPr>
            <p:spPr>
              <a:xfrm>
                <a:off x="3988460" y="2153990"/>
                <a:ext cx="947005" cy="947006"/>
              </a:xfrm>
              <a:custGeom>
                <a:avLst/>
                <a:gdLst/>
                <a:ahLst/>
                <a:cxnLst/>
                <a:rect l="l" t="t" r="r" b="b"/>
                <a:pathLst>
                  <a:path w="1047114" h="1047114">
                    <a:moveTo>
                      <a:pt x="523252" y="1046505"/>
                    </a:moveTo>
                    <a:lnTo>
                      <a:pt x="570879" y="1044367"/>
                    </a:lnTo>
                    <a:lnTo>
                      <a:pt x="617309" y="1038075"/>
                    </a:lnTo>
                    <a:lnTo>
                      <a:pt x="662355" y="1027814"/>
                    </a:lnTo>
                    <a:lnTo>
                      <a:pt x="705834" y="1013769"/>
                    </a:lnTo>
                    <a:lnTo>
                      <a:pt x="747560" y="996125"/>
                    </a:lnTo>
                    <a:lnTo>
                      <a:pt x="787350" y="975066"/>
                    </a:lnTo>
                    <a:lnTo>
                      <a:pt x="825017" y="950778"/>
                    </a:lnTo>
                    <a:lnTo>
                      <a:pt x="860379" y="923444"/>
                    </a:lnTo>
                    <a:lnTo>
                      <a:pt x="893249" y="893249"/>
                    </a:lnTo>
                    <a:lnTo>
                      <a:pt x="923444" y="860379"/>
                    </a:lnTo>
                    <a:lnTo>
                      <a:pt x="950778" y="825017"/>
                    </a:lnTo>
                    <a:lnTo>
                      <a:pt x="975066" y="787350"/>
                    </a:lnTo>
                    <a:lnTo>
                      <a:pt x="996125" y="747560"/>
                    </a:lnTo>
                    <a:lnTo>
                      <a:pt x="1013769" y="705834"/>
                    </a:lnTo>
                    <a:lnTo>
                      <a:pt x="1027814" y="662355"/>
                    </a:lnTo>
                    <a:lnTo>
                      <a:pt x="1038075" y="617309"/>
                    </a:lnTo>
                    <a:lnTo>
                      <a:pt x="1044367" y="570879"/>
                    </a:lnTo>
                    <a:lnTo>
                      <a:pt x="1046505" y="523252"/>
                    </a:lnTo>
                    <a:lnTo>
                      <a:pt x="1044367" y="475625"/>
                    </a:lnTo>
                    <a:lnTo>
                      <a:pt x="1038075" y="429196"/>
                    </a:lnTo>
                    <a:lnTo>
                      <a:pt x="1027814" y="384150"/>
                    </a:lnTo>
                    <a:lnTo>
                      <a:pt x="1013769" y="340671"/>
                    </a:lnTo>
                    <a:lnTo>
                      <a:pt x="996125" y="298944"/>
                    </a:lnTo>
                    <a:lnTo>
                      <a:pt x="975066" y="259155"/>
                    </a:lnTo>
                    <a:lnTo>
                      <a:pt x="950778" y="221487"/>
                    </a:lnTo>
                    <a:lnTo>
                      <a:pt x="923444" y="186125"/>
                    </a:lnTo>
                    <a:lnTo>
                      <a:pt x="893249" y="153255"/>
                    </a:lnTo>
                    <a:lnTo>
                      <a:pt x="860379" y="123061"/>
                    </a:lnTo>
                    <a:lnTo>
                      <a:pt x="825017" y="95727"/>
                    </a:lnTo>
                    <a:lnTo>
                      <a:pt x="787350" y="71438"/>
                    </a:lnTo>
                    <a:lnTo>
                      <a:pt x="747560" y="50379"/>
                    </a:lnTo>
                    <a:lnTo>
                      <a:pt x="705834" y="32735"/>
                    </a:lnTo>
                    <a:lnTo>
                      <a:pt x="662355" y="18690"/>
                    </a:lnTo>
                    <a:lnTo>
                      <a:pt x="617309" y="8430"/>
                    </a:lnTo>
                    <a:lnTo>
                      <a:pt x="570879" y="2138"/>
                    </a:lnTo>
                    <a:lnTo>
                      <a:pt x="523252" y="0"/>
                    </a:lnTo>
                    <a:lnTo>
                      <a:pt x="475625" y="2138"/>
                    </a:lnTo>
                    <a:lnTo>
                      <a:pt x="429196" y="8430"/>
                    </a:lnTo>
                    <a:lnTo>
                      <a:pt x="384150" y="18690"/>
                    </a:lnTo>
                    <a:lnTo>
                      <a:pt x="340671" y="32735"/>
                    </a:lnTo>
                    <a:lnTo>
                      <a:pt x="298944" y="50379"/>
                    </a:lnTo>
                    <a:lnTo>
                      <a:pt x="259155" y="71438"/>
                    </a:lnTo>
                    <a:lnTo>
                      <a:pt x="221487" y="95727"/>
                    </a:lnTo>
                    <a:lnTo>
                      <a:pt x="186125" y="123061"/>
                    </a:lnTo>
                    <a:lnTo>
                      <a:pt x="153255" y="153255"/>
                    </a:lnTo>
                    <a:lnTo>
                      <a:pt x="123061" y="186125"/>
                    </a:lnTo>
                    <a:lnTo>
                      <a:pt x="95727" y="221487"/>
                    </a:lnTo>
                    <a:lnTo>
                      <a:pt x="71438" y="259155"/>
                    </a:lnTo>
                    <a:lnTo>
                      <a:pt x="50379" y="298944"/>
                    </a:lnTo>
                    <a:lnTo>
                      <a:pt x="32735" y="340671"/>
                    </a:lnTo>
                    <a:lnTo>
                      <a:pt x="18690" y="384150"/>
                    </a:lnTo>
                    <a:lnTo>
                      <a:pt x="8430" y="429196"/>
                    </a:lnTo>
                    <a:lnTo>
                      <a:pt x="2138" y="475625"/>
                    </a:lnTo>
                    <a:lnTo>
                      <a:pt x="0" y="523252"/>
                    </a:lnTo>
                    <a:lnTo>
                      <a:pt x="2138" y="570879"/>
                    </a:lnTo>
                    <a:lnTo>
                      <a:pt x="8430" y="617309"/>
                    </a:lnTo>
                    <a:lnTo>
                      <a:pt x="18690" y="662355"/>
                    </a:lnTo>
                    <a:lnTo>
                      <a:pt x="32735" y="705834"/>
                    </a:lnTo>
                    <a:lnTo>
                      <a:pt x="50379" y="747560"/>
                    </a:lnTo>
                    <a:lnTo>
                      <a:pt x="71438" y="787350"/>
                    </a:lnTo>
                    <a:lnTo>
                      <a:pt x="95727" y="825017"/>
                    </a:lnTo>
                    <a:lnTo>
                      <a:pt x="123061" y="860379"/>
                    </a:lnTo>
                    <a:lnTo>
                      <a:pt x="153255" y="893249"/>
                    </a:lnTo>
                    <a:lnTo>
                      <a:pt x="186125" y="923444"/>
                    </a:lnTo>
                    <a:lnTo>
                      <a:pt x="221487" y="950778"/>
                    </a:lnTo>
                    <a:lnTo>
                      <a:pt x="259155" y="975066"/>
                    </a:lnTo>
                    <a:lnTo>
                      <a:pt x="298944" y="996125"/>
                    </a:lnTo>
                    <a:lnTo>
                      <a:pt x="340671" y="1013769"/>
                    </a:lnTo>
                    <a:lnTo>
                      <a:pt x="384150" y="1027814"/>
                    </a:lnTo>
                    <a:lnTo>
                      <a:pt x="429196" y="1038075"/>
                    </a:lnTo>
                    <a:lnTo>
                      <a:pt x="475625" y="1044367"/>
                    </a:lnTo>
                    <a:lnTo>
                      <a:pt x="523252" y="1046505"/>
                    </a:lnTo>
                    <a:close/>
                  </a:path>
                </a:pathLst>
              </a:custGeom>
              <a:solidFill>
                <a:schemeClr val="bg1"/>
              </a:solidFill>
              <a:ln w="63500">
                <a:solidFill>
                  <a:schemeClr val="tx1"/>
                </a:solidFill>
              </a:ln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9" name="object 64"/>
              <p:cNvSpPr txBox="1"/>
              <p:nvPr/>
            </p:nvSpPr>
            <p:spPr>
              <a:xfrm>
                <a:off x="551226" y="3238508"/>
                <a:ext cx="975669" cy="203947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2700" algn="ctr"/>
                <a:r>
                  <a:rPr lang="pt-BR" sz="1200" b="1" dirty="0">
                    <a:solidFill>
                      <a:schemeClr val="tx2">
                        <a:lumMod val="25000"/>
                      </a:schemeClr>
                    </a:solidFill>
                    <a:latin typeface="Calibri"/>
                    <a:cs typeface="Calibri"/>
                  </a:rPr>
                  <a:t>Samples</a:t>
                </a:r>
                <a:endParaRPr lang="pt-BR" sz="1200" dirty="0">
                  <a:solidFill>
                    <a:schemeClr val="tx2">
                      <a:lumMod val="25000"/>
                    </a:schemeClr>
                  </a:solidFill>
                  <a:latin typeface="Calibri"/>
                  <a:cs typeface="Calibri"/>
                </a:endParaRPr>
              </a:p>
            </p:txBody>
          </p:sp>
          <p:sp>
            <p:nvSpPr>
              <p:cNvPr id="11" name="object 66"/>
              <p:cNvSpPr txBox="1"/>
              <p:nvPr/>
            </p:nvSpPr>
            <p:spPr>
              <a:xfrm>
                <a:off x="3958571" y="3238508"/>
                <a:ext cx="1033728" cy="611841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86055" marR="5080" indent="-173990" algn="ctr"/>
                <a:r>
                  <a:rPr lang="pt-BR" sz="1200" b="1" dirty="0" err="1">
                    <a:solidFill>
                      <a:schemeClr val="tx2">
                        <a:lumMod val="25000"/>
                      </a:schemeClr>
                    </a:solidFill>
                    <a:latin typeface="Calibri"/>
                    <a:cs typeface="Calibri"/>
                  </a:rPr>
                  <a:t>Human</a:t>
                </a:r>
                <a:endParaRPr lang="pt-BR" sz="1200" b="1" dirty="0">
                  <a:solidFill>
                    <a:schemeClr val="tx2">
                      <a:lumMod val="25000"/>
                    </a:schemeClr>
                  </a:solidFill>
                  <a:latin typeface="Calibri"/>
                  <a:cs typeface="Calibri"/>
                </a:endParaRPr>
              </a:p>
              <a:p>
                <a:pPr marL="186055" marR="5080" indent="-173990" algn="ctr"/>
                <a:r>
                  <a:rPr lang="pt-BR" sz="1200" b="1" dirty="0" err="1">
                    <a:solidFill>
                      <a:schemeClr val="tx2">
                        <a:lumMod val="25000"/>
                      </a:schemeClr>
                    </a:solidFill>
                    <a:latin typeface="Calibri"/>
                    <a:cs typeface="Calibri"/>
                  </a:rPr>
                  <a:t>interpretation</a:t>
                </a:r>
                <a:endParaRPr lang="pt-BR" sz="1200" b="1" dirty="0">
                  <a:solidFill>
                    <a:schemeClr val="tx2">
                      <a:lumMod val="25000"/>
                    </a:schemeClr>
                  </a:solidFill>
                  <a:latin typeface="Calibri"/>
                  <a:cs typeface="Calibri"/>
                </a:endParaRPr>
              </a:p>
            </p:txBody>
          </p:sp>
          <p:sp>
            <p:nvSpPr>
              <p:cNvPr id="12" name="object 67"/>
              <p:cNvSpPr/>
              <p:nvPr/>
            </p:nvSpPr>
            <p:spPr>
              <a:xfrm>
                <a:off x="1759999" y="2501830"/>
                <a:ext cx="250256" cy="229235"/>
              </a:xfrm>
              <a:custGeom>
                <a:avLst/>
                <a:gdLst/>
                <a:ahLst/>
                <a:cxnLst/>
                <a:rect l="l" t="t" r="r" b="b"/>
                <a:pathLst>
                  <a:path w="224155" h="151130">
                    <a:moveTo>
                      <a:pt x="92786" y="0"/>
                    </a:moveTo>
                    <a:lnTo>
                      <a:pt x="92786" y="41833"/>
                    </a:lnTo>
                    <a:lnTo>
                      <a:pt x="0" y="41833"/>
                    </a:lnTo>
                    <a:lnTo>
                      <a:pt x="0" y="109194"/>
                    </a:lnTo>
                    <a:lnTo>
                      <a:pt x="92786" y="109194"/>
                    </a:lnTo>
                    <a:lnTo>
                      <a:pt x="92786" y="151028"/>
                    </a:lnTo>
                    <a:lnTo>
                      <a:pt x="223596" y="75514"/>
                    </a:lnTo>
                    <a:lnTo>
                      <a:pt x="92786" y="0"/>
                    </a:lnTo>
                    <a:close/>
                  </a:path>
                </a:pathLst>
              </a:custGeom>
              <a:solidFill>
                <a:srgbClr val="000000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13" name="object 70"/>
              <p:cNvSpPr/>
              <p:nvPr/>
            </p:nvSpPr>
            <p:spPr>
              <a:xfrm>
                <a:off x="5590334" y="2139564"/>
                <a:ext cx="947005" cy="947006"/>
              </a:xfrm>
              <a:custGeom>
                <a:avLst/>
                <a:gdLst/>
                <a:ahLst/>
                <a:cxnLst/>
                <a:rect l="l" t="t" r="r" b="b"/>
                <a:pathLst>
                  <a:path w="1047114" h="1047114">
                    <a:moveTo>
                      <a:pt x="523252" y="1046505"/>
                    </a:moveTo>
                    <a:lnTo>
                      <a:pt x="570879" y="1044367"/>
                    </a:lnTo>
                    <a:lnTo>
                      <a:pt x="617309" y="1038075"/>
                    </a:lnTo>
                    <a:lnTo>
                      <a:pt x="662355" y="1027814"/>
                    </a:lnTo>
                    <a:lnTo>
                      <a:pt x="705834" y="1013769"/>
                    </a:lnTo>
                    <a:lnTo>
                      <a:pt x="747560" y="996125"/>
                    </a:lnTo>
                    <a:lnTo>
                      <a:pt x="787350" y="975066"/>
                    </a:lnTo>
                    <a:lnTo>
                      <a:pt x="825017" y="950778"/>
                    </a:lnTo>
                    <a:lnTo>
                      <a:pt x="860379" y="923444"/>
                    </a:lnTo>
                    <a:lnTo>
                      <a:pt x="893249" y="893249"/>
                    </a:lnTo>
                    <a:lnTo>
                      <a:pt x="923444" y="860379"/>
                    </a:lnTo>
                    <a:lnTo>
                      <a:pt x="950778" y="825017"/>
                    </a:lnTo>
                    <a:lnTo>
                      <a:pt x="975066" y="787350"/>
                    </a:lnTo>
                    <a:lnTo>
                      <a:pt x="996125" y="747560"/>
                    </a:lnTo>
                    <a:lnTo>
                      <a:pt x="1013769" y="705834"/>
                    </a:lnTo>
                    <a:lnTo>
                      <a:pt x="1027814" y="662355"/>
                    </a:lnTo>
                    <a:lnTo>
                      <a:pt x="1038075" y="617309"/>
                    </a:lnTo>
                    <a:lnTo>
                      <a:pt x="1044367" y="570879"/>
                    </a:lnTo>
                    <a:lnTo>
                      <a:pt x="1046505" y="523252"/>
                    </a:lnTo>
                    <a:lnTo>
                      <a:pt x="1044367" y="475625"/>
                    </a:lnTo>
                    <a:lnTo>
                      <a:pt x="1038075" y="429196"/>
                    </a:lnTo>
                    <a:lnTo>
                      <a:pt x="1027814" y="384150"/>
                    </a:lnTo>
                    <a:lnTo>
                      <a:pt x="1013769" y="340671"/>
                    </a:lnTo>
                    <a:lnTo>
                      <a:pt x="996125" y="298944"/>
                    </a:lnTo>
                    <a:lnTo>
                      <a:pt x="975066" y="259155"/>
                    </a:lnTo>
                    <a:lnTo>
                      <a:pt x="950778" y="221487"/>
                    </a:lnTo>
                    <a:lnTo>
                      <a:pt x="923444" y="186125"/>
                    </a:lnTo>
                    <a:lnTo>
                      <a:pt x="893249" y="153255"/>
                    </a:lnTo>
                    <a:lnTo>
                      <a:pt x="860379" y="123061"/>
                    </a:lnTo>
                    <a:lnTo>
                      <a:pt x="825017" y="95727"/>
                    </a:lnTo>
                    <a:lnTo>
                      <a:pt x="787350" y="71438"/>
                    </a:lnTo>
                    <a:lnTo>
                      <a:pt x="747560" y="50379"/>
                    </a:lnTo>
                    <a:lnTo>
                      <a:pt x="705834" y="32735"/>
                    </a:lnTo>
                    <a:lnTo>
                      <a:pt x="662355" y="18690"/>
                    </a:lnTo>
                    <a:lnTo>
                      <a:pt x="617309" y="8430"/>
                    </a:lnTo>
                    <a:lnTo>
                      <a:pt x="570879" y="2138"/>
                    </a:lnTo>
                    <a:lnTo>
                      <a:pt x="523252" y="0"/>
                    </a:lnTo>
                    <a:lnTo>
                      <a:pt x="475625" y="2138"/>
                    </a:lnTo>
                    <a:lnTo>
                      <a:pt x="429196" y="8430"/>
                    </a:lnTo>
                    <a:lnTo>
                      <a:pt x="384150" y="18690"/>
                    </a:lnTo>
                    <a:lnTo>
                      <a:pt x="340671" y="32735"/>
                    </a:lnTo>
                    <a:lnTo>
                      <a:pt x="298944" y="50379"/>
                    </a:lnTo>
                    <a:lnTo>
                      <a:pt x="259155" y="71438"/>
                    </a:lnTo>
                    <a:lnTo>
                      <a:pt x="221487" y="95727"/>
                    </a:lnTo>
                    <a:lnTo>
                      <a:pt x="186125" y="123061"/>
                    </a:lnTo>
                    <a:lnTo>
                      <a:pt x="153255" y="153255"/>
                    </a:lnTo>
                    <a:lnTo>
                      <a:pt x="123061" y="186125"/>
                    </a:lnTo>
                    <a:lnTo>
                      <a:pt x="95727" y="221487"/>
                    </a:lnTo>
                    <a:lnTo>
                      <a:pt x="71438" y="259155"/>
                    </a:lnTo>
                    <a:lnTo>
                      <a:pt x="50379" y="298944"/>
                    </a:lnTo>
                    <a:lnTo>
                      <a:pt x="32735" y="340671"/>
                    </a:lnTo>
                    <a:lnTo>
                      <a:pt x="18690" y="384150"/>
                    </a:lnTo>
                    <a:lnTo>
                      <a:pt x="8430" y="429196"/>
                    </a:lnTo>
                    <a:lnTo>
                      <a:pt x="2138" y="475625"/>
                    </a:lnTo>
                    <a:lnTo>
                      <a:pt x="0" y="523252"/>
                    </a:lnTo>
                    <a:lnTo>
                      <a:pt x="2138" y="570879"/>
                    </a:lnTo>
                    <a:lnTo>
                      <a:pt x="8430" y="617309"/>
                    </a:lnTo>
                    <a:lnTo>
                      <a:pt x="18690" y="662355"/>
                    </a:lnTo>
                    <a:lnTo>
                      <a:pt x="32735" y="705834"/>
                    </a:lnTo>
                    <a:lnTo>
                      <a:pt x="50379" y="747560"/>
                    </a:lnTo>
                    <a:lnTo>
                      <a:pt x="71438" y="787350"/>
                    </a:lnTo>
                    <a:lnTo>
                      <a:pt x="95727" y="825017"/>
                    </a:lnTo>
                    <a:lnTo>
                      <a:pt x="123061" y="860379"/>
                    </a:lnTo>
                    <a:lnTo>
                      <a:pt x="153255" y="893249"/>
                    </a:lnTo>
                    <a:lnTo>
                      <a:pt x="186125" y="923444"/>
                    </a:lnTo>
                    <a:lnTo>
                      <a:pt x="221487" y="950778"/>
                    </a:lnTo>
                    <a:lnTo>
                      <a:pt x="259155" y="975066"/>
                    </a:lnTo>
                    <a:lnTo>
                      <a:pt x="298944" y="996125"/>
                    </a:lnTo>
                    <a:lnTo>
                      <a:pt x="340671" y="1013769"/>
                    </a:lnTo>
                    <a:lnTo>
                      <a:pt x="384150" y="1027814"/>
                    </a:lnTo>
                    <a:lnTo>
                      <a:pt x="429196" y="1038075"/>
                    </a:lnTo>
                    <a:lnTo>
                      <a:pt x="475625" y="1044367"/>
                    </a:lnTo>
                    <a:lnTo>
                      <a:pt x="523252" y="1046505"/>
                    </a:lnTo>
                    <a:close/>
                  </a:path>
                </a:pathLst>
              </a:custGeom>
              <a:solidFill>
                <a:schemeClr val="bg1"/>
              </a:solidFill>
              <a:ln w="63500">
                <a:solidFill>
                  <a:schemeClr val="tx1"/>
                </a:solidFill>
              </a:ln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14" name="object 71"/>
              <p:cNvSpPr/>
              <p:nvPr/>
            </p:nvSpPr>
            <p:spPr>
              <a:xfrm>
                <a:off x="7294620" y="2139563"/>
                <a:ext cx="947005" cy="947006"/>
              </a:xfrm>
              <a:custGeom>
                <a:avLst/>
                <a:gdLst/>
                <a:ahLst/>
                <a:cxnLst/>
                <a:rect l="l" t="t" r="r" b="b"/>
                <a:pathLst>
                  <a:path w="1047114" h="1047114">
                    <a:moveTo>
                      <a:pt x="523252" y="1046505"/>
                    </a:moveTo>
                    <a:lnTo>
                      <a:pt x="570879" y="1044367"/>
                    </a:lnTo>
                    <a:lnTo>
                      <a:pt x="617309" y="1038075"/>
                    </a:lnTo>
                    <a:lnTo>
                      <a:pt x="662355" y="1027814"/>
                    </a:lnTo>
                    <a:lnTo>
                      <a:pt x="705834" y="1013769"/>
                    </a:lnTo>
                    <a:lnTo>
                      <a:pt x="747560" y="996125"/>
                    </a:lnTo>
                    <a:lnTo>
                      <a:pt x="787350" y="975066"/>
                    </a:lnTo>
                    <a:lnTo>
                      <a:pt x="825017" y="950778"/>
                    </a:lnTo>
                    <a:lnTo>
                      <a:pt x="860379" y="923444"/>
                    </a:lnTo>
                    <a:lnTo>
                      <a:pt x="893249" y="893249"/>
                    </a:lnTo>
                    <a:lnTo>
                      <a:pt x="923444" y="860379"/>
                    </a:lnTo>
                    <a:lnTo>
                      <a:pt x="950778" y="825017"/>
                    </a:lnTo>
                    <a:lnTo>
                      <a:pt x="975066" y="787350"/>
                    </a:lnTo>
                    <a:lnTo>
                      <a:pt x="996125" y="747560"/>
                    </a:lnTo>
                    <a:lnTo>
                      <a:pt x="1013769" y="705834"/>
                    </a:lnTo>
                    <a:lnTo>
                      <a:pt x="1027814" y="662355"/>
                    </a:lnTo>
                    <a:lnTo>
                      <a:pt x="1038075" y="617309"/>
                    </a:lnTo>
                    <a:lnTo>
                      <a:pt x="1044367" y="570879"/>
                    </a:lnTo>
                    <a:lnTo>
                      <a:pt x="1046505" y="523252"/>
                    </a:lnTo>
                    <a:lnTo>
                      <a:pt x="1044367" y="475625"/>
                    </a:lnTo>
                    <a:lnTo>
                      <a:pt x="1038075" y="429196"/>
                    </a:lnTo>
                    <a:lnTo>
                      <a:pt x="1027814" y="384150"/>
                    </a:lnTo>
                    <a:lnTo>
                      <a:pt x="1013769" y="340671"/>
                    </a:lnTo>
                    <a:lnTo>
                      <a:pt x="996125" y="298944"/>
                    </a:lnTo>
                    <a:lnTo>
                      <a:pt x="975066" y="259155"/>
                    </a:lnTo>
                    <a:lnTo>
                      <a:pt x="950778" y="221487"/>
                    </a:lnTo>
                    <a:lnTo>
                      <a:pt x="923444" y="186125"/>
                    </a:lnTo>
                    <a:lnTo>
                      <a:pt x="893249" y="153255"/>
                    </a:lnTo>
                    <a:lnTo>
                      <a:pt x="860379" y="123061"/>
                    </a:lnTo>
                    <a:lnTo>
                      <a:pt x="825017" y="95727"/>
                    </a:lnTo>
                    <a:lnTo>
                      <a:pt x="787350" y="71438"/>
                    </a:lnTo>
                    <a:lnTo>
                      <a:pt x="747560" y="50379"/>
                    </a:lnTo>
                    <a:lnTo>
                      <a:pt x="705834" y="32735"/>
                    </a:lnTo>
                    <a:lnTo>
                      <a:pt x="662355" y="18690"/>
                    </a:lnTo>
                    <a:lnTo>
                      <a:pt x="617309" y="8430"/>
                    </a:lnTo>
                    <a:lnTo>
                      <a:pt x="570879" y="2138"/>
                    </a:lnTo>
                    <a:lnTo>
                      <a:pt x="523252" y="0"/>
                    </a:lnTo>
                    <a:lnTo>
                      <a:pt x="475625" y="2138"/>
                    </a:lnTo>
                    <a:lnTo>
                      <a:pt x="429196" y="8430"/>
                    </a:lnTo>
                    <a:lnTo>
                      <a:pt x="384150" y="18690"/>
                    </a:lnTo>
                    <a:lnTo>
                      <a:pt x="340671" y="32735"/>
                    </a:lnTo>
                    <a:lnTo>
                      <a:pt x="298944" y="50379"/>
                    </a:lnTo>
                    <a:lnTo>
                      <a:pt x="259155" y="71438"/>
                    </a:lnTo>
                    <a:lnTo>
                      <a:pt x="221487" y="95727"/>
                    </a:lnTo>
                    <a:lnTo>
                      <a:pt x="186125" y="123061"/>
                    </a:lnTo>
                    <a:lnTo>
                      <a:pt x="153255" y="153255"/>
                    </a:lnTo>
                    <a:lnTo>
                      <a:pt x="123061" y="186125"/>
                    </a:lnTo>
                    <a:lnTo>
                      <a:pt x="95727" y="221487"/>
                    </a:lnTo>
                    <a:lnTo>
                      <a:pt x="71438" y="259155"/>
                    </a:lnTo>
                    <a:lnTo>
                      <a:pt x="50379" y="298944"/>
                    </a:lnTo>
                    <a:lnTo>
                      <a:pt x="32735" y="340671"/>
                    </a:lnTo>
                    <a:lnTo>
                      <a:pt x="18690" y="384150"/>
                    </a:lnTo>
                    <a:lnTo>
                      <a:pt x="8430" y="429196"/>
                    </a:lnTo>
                    <a:lnTo>
                      <a:pt x="2138" y="475625"/>
                    </a:lnTo>
                    <a:lnTo>
                      <a:pt x="0" y="523252"/>
                    </a:lnTo>
                    <a:lnTo>
                      <a:pt x="2138" y="570879"/>
                    </a:lnTo>
                    <a:lnTo>
                      <a:pt x="8430" y="617309"/>
                    </a:lnTo>
                    <a:lnTo>
                      <a:pt x="18690" y="662355"/>
                    </a:lnTo>
                    <a:lnTo>
                      <a:pt x="32735" y="705834"/>
                    </a:lnTo>
                    <a:lnTo>
                      <a:pt x="50379" y="747560"/>
                    </a:lnTo>
                    <a:lnTo>
                      <a:pt x="71438" y="787350"/>
                    </a:lnTo>
                    <a:lnTo>
                      <a:pt x="95727" y="825017"/>
                    </a:lnTo>
                    <a:lnTo>
                      <a:pt x="123061" y="860379"/>
                    </a:lnTo>
                    <a:lnTo>
                      <a:pt x="153255" y="893249"/>
                    </a:lnTo>
                    <a:lnTo>
                      <a:pt x="186125" y="923444"/>
                    </a:lnTo>
                    <a:lnTo>
                      <a:pt x="221487" y="950778"/>
                    </a:lnTo>
                    <a:lnTo>
                      <a:pt x="259155" y="975066"/>
                    </a:lnTo>
                    <a:lnTo>
                      <a:pt x="298944" y="996125"/>
                    </a:lnTo>
                    <a:lnTo>
                      <a:pt x="340671" y="1013769"/>
                    </a:lnTo>
                    <a:lnTo>
                      <a:pt x="384150" y="1027814"/>
                    </a:lnTo>
                    <a:lnTo>
                      <a:pt x="429196" y="1038075"/>
                    </a:lnTo>
                    <a:lnTo>
                      <a:pt x="475625" y="1044367"/>
                    </a:lnTo>
                    <a:lnTo>
                      <a:pt x="523252" y="1046505"/>
                    </a:lnTo>
                    <a:close/>
                  </a:path>
                </a:pathLst>
              </a:custGeom>
              <a:solidFill>
                <a:schemeClr val="bg1"/>
              </a:solidFill>
              <a:ln w="63500">
                <a:solidFill>
                  <a:schemeClr val="tx1"/>
                </a:solidFill>
              </a:ln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15" name="object 74"/>
              <p:cNvSpPr txBox="1"/>
              <p:nvPr/>
            </p:nvSpPr>
            <p:spPr>
              <a:xfrm>
                <a:off x="5759575" y="3238508"/>
                <a:ext cx="667923" cy="407894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75565" marR="5080" indent="-63500" algn="ctr"/>
                <a:r>
                  <a:rPr lang="pt-BR" sz="1200" b="1" dirty="0">
                    <a:solidFill>
                      <a:schemeClr val="tx2">
                        <a:lumMod val="25000"/>
                      </a:schemeClr>
                    </a:solidFill>
                    <a:latin typeface="Calibri"/>
                    <a:cs typeface="Calibri"/>
                  </a:rPr>
                  <a:t>Manual </a:t>
                </a:r>
                <a:r>
                  <a:rPr lang="pt-BR" sz="1200" b="1" dirty="0" err="1">
                    <a:solidFill>
                      <a:schemeClr val="tx2">
                        <a:lumMod val="25000"/>
                      </a:schemeClr>
                    </a:solidFill>
                    <a:latin typeface="Calibri"/>
                    <a:cs typeface="Calibri"/>
                  </a:rPr>
                  <a:t>reports</a:t>
                </a:r>
                <a:endParaRPr lang="pt-BR" sz="1200" b="1" dirty="0">
                  <a:solidFill>
                    <a:schemeClr val="tx2">
                      <a:lumMod val="25000"/>
                    </a:schemeClr>
                  </a:solidFill>
                  <a:latin typeface="Calibri"/>
                  <a:cs typeface="Calibri"/>
                </a:endParaRPr>
              </a:p>
            </p:txBody>
          </p:sp>
          <p:sp>
            <p:nvSpPr>
              <p:cNvPr id="16" name="object 75"/>
              <p:cNvSpPr txBox="1"/>
              <p:nvPr/>
            </p:nvSpPr>
            <p:spPr>
              <a:xfrm>
                <a:off x="7204416" y="3238508"/>
                <a:ext cx="1127411" cy="407894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28270" marR="5080" indent="-116205" algn="ctr"/>
                <a:r>
                  <a:rPr lang="pt-BR" sz="1200" b="1" dirty="0" err="1">
                    <a:solidFill>
                      <a:schemeClr val="tx2">
                        <a:lumMod val="25000"/>
                      </a:schemeClr>
                    </a:solidFill>
                    <a:latin typeface="Calibri"/>
                    <a:cs typeface="Calibri"/>
                  </a:rPr>
                  <a:t>Traditional</a:t>
                </a:r>
                <a:r>
                  <a:rPr lang="pt-BR" sz="1200" b="1" dirty="0">
                    <a:solidFill>
                      <a:schemeClr val="tx2">
                        <a:lumMod val="25000"/>
                      </a:schemeClr>
                    </a:solidFill>
                    <a:latin typeface="Calibri"/>
                    <a:cs typeface="Calibri"/>
                  </a:rPr>
                  <a:t> </a:t>
                </a:r>
                <a:r>
                  <a:rPr lang="pt-BR" sz="1200" b="1" dirty="0" err="1">
                    <a:solidFill>
                      <a:schemeClr val="tx2">
                        <a:lumMod val="25000"/>
                      </a:schemeClr>
                    </a:solidFill>
                    <a:latin typeface="Calibri"/>
                    <a:cs typeface="Calibri"/>
                  </a:rPr>
                  <a:t>archive</a:t>
                </a:r>
                <a:endParaRPr lang="pt-BR" sz="1200" b="1" dirty="0">
                  <a:solidFill>
                    <a:schemeClr val="tx2">
                      <a:lumMod val="25000"/>
                    </a:schemeClr>
                  </a:solidFill>
                  <a:latin typeface="Calibri"/>
                  <a:cs typeface="Calibri"/>
                </a:endParaRPr>
              </a:p>
            </p:txBody>
          </p:sp>
          <p:sp>
            <p:nvSpPr>
              <p:cNvPr id="26" name="object 67"/>
              <p:cNvSpPr/>
              <p:nvPr/>
            </p:nvSpPr>
            <p:spPr>
              <a:xfrm>
                <a:off x="3499322" y="2501830"/>
                <a:ext cx="250256" cy="229235"/>
              </a:xfrm>
              <a:custGeom>
                <a:avLst/>
                <a:gdLst/>
                <a:ahLst/>
                <a:cxnLst/>
                <a:rect l="l" t="t" r="r" b="b"/>
                <a:pathLst>
                  <a:path w="224155" h="151130">
                    <a:moveTo>
                      <a:pt x="92786" y="0"/>
                    </a:moveTo>
                    <a:lnTo>
                      <a:pt x="92786" y="41833"/>
                    </a:lnTo>
                    <a:lnTo>
                      <a:pt x="0" y="41833"/>
                    </a:lnTo>
                    <a:lnTo>
                      <a:pt x="0" y="109194"/>
                    </a:lnTo>
                    <a:lnTo>
                      <a:pt x="92786" y="109194"/>
                    </a:lnTo>
                    <a:lnTo>
                      <a:pt x="92786" y="151028"/>
                    </a:lnTo>
                    <a:lnTo>
                      <a:pt x="223596" y="75514"/>
                    </a:lnTo>
                    <a:lnTo>
                      <a:pt x="92786" y="0"/>
                    </a:lnTo>
                    <a:close/>
                  </a:path>
                </a:pathLst>
              </a:custGeom>
              <a:solidFill>
                <a:srgbClr val="000000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27" name="object 67"/>
              <p:cNvSpPr/>
              <p:nvPr/>
            </p:nvSpPr>
            <p:spPr>
              <a:xfrm>
                <a:off x="5179384" y="2501828"/>
                <a:ext cx="250256" cy="229235"/>
              </a:xfrm>
              <a:custGeom>
                <a:avLst/>
                <a:gdLst/>
                <a:ahLst/>
                <a:cxnLst/>
                <a:rect l="l" t="t" r="r" b="b"/>
                <a:pathLst>
                  <a:path w="224155" h="151130">
                    <a:moveTo>
                      <a:pt x="92786" y="0"/>
                    </a:moveTo>
                    <a:lnTo>
                      <a:pt x="92786" y="41833"/>
                    </a:lnTo>
                    <a:lnTo>
                      <a:pt x="0" y="41833"/>
                    </a:lnTo>
                    <a:lnTo>
                      <a:pt x="0" y="109194"/>
                    </a:lnTo>
                    <a:lnTo>
                      <a:pt x="92786" y="109194"/>
                    </a:lnTo>
                    <a:lnTo>
                      <a:pt x="92786" y="151028"/>
                    </a:lnTo>
                    <a:lnTo>
                      <a:pt x="223596" y="75514"/>
                    </a:lnTo>
                    <a:lnTo>
                      <a:pt x="92786" y="0"/>
                    </a:lnTo>
                    <a:close/>
                  </a:path>
                </a:pathLst>
              </a:custGeom>
              <a:solidFill>
                <a:srgbClr val="000000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29" name="object 67"/>
              <p:cNvSpPr/>
              <p:nvPr/>
            </p:nvSpPr>
            <p:spPr>
              <a:xfrm>
                <a:off x="6798894" y="2498448"/>
                <a:ext cx="250256" cy="229235"/>
              </a:xfrm>
              <a:custGeom>
                <a:avLst/>
                <a:gdLst/>
                <a:ahLst/>
                <a:cxnLst/>
                <a:rect l="l" t="t" r="r" b="b"/>
                <a:pathLst>
                  <a:path w="224155" h="151130">
                    <a:moveTo>
                      <a:pt x="92786" y="0"/>
                    </a:moveTo>
                    <a:lnTo>
                      <a:pt x="92786" y="41833"/>
                    </a:lnTo>
                    <a:lnTo>
                      <a:pt x="0" y="41833"/>
                    </a:lnTo>
                    <a:lnTo>
                      <a:pt x="0" y="109194"/>
                    </a:lnTo>
                    <a:lnTo>
                      <a:pt x="92786" y="109194"/>
                    </a:lnTo>
                    <a:lnTo>
                      <a:pt x="92786" y="151028"/>
                    </a:lnTo>
                    <a:lnTo>
                      <a:pt x="223596" y="75514"/>
                    </a:lnTo>
                    <a:lnTo>
                      <a:pt x="92786" y="0"/>
                    </a:lnTo>
                    <a:close/>
                  </a:path>
                </a:pathLst>
              </a:custGeom>
              <a:solidFill>
                <a:srgbClr val="000000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pic>
            <p:nvPicPr>
              <p:cNvPr id="30" name="Picture 13" descr="C:\Users\Michelle\Downloads\microscope.png"/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01626" y="2275325"/>
                <a:ext cx="589129" cy="58912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1" name="Picture 14" descr="C:\Users\Michelle\Downloads\view.png"/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54448" y="2317898"/>
                <a:ext cx="616519" cy="61651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2" name="Picture 16" descr="C:\Users\Michelle\Downloads\test (1).png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840399" y="2307259"/>
                <a:ext cx="587099" cy="58709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3" name="Picture 17" descr="C:\Users\Michelle\Downloads\inbox.png"/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451265" y="2283949"/>
                <a:ext cx="633716" cy="63371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37" name="object 11"/>
          <p:cNvSpPr txBox="1"/>
          <p:nvPr/>
        </p:nvSpPr>
        <p:spPr>
          <a:xfrm>
            <a:off x="1064436" y="1385124"/>
            <a:ext cx="7185404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ctr"/>
            <a:r>
              <a:rPr lang="en-US" sz="1800" dirty="0">
                <a:solidFill>
                  <a:schemeClr val="bg2">
                    <a:lumMod val="75000"/>
                  </a:schemeClr>
                </a:solidFill>
                <a:latin typeface="Century Gothic" panose="020B0502020202020204" pitchFamily="34" charset="0"/>
                <a:cs typeface="Calibri"/>
              </a:rPr>
              <a:t>The quality analyzes of agricultural goods are done manually by visual inspection</a:t>
            </a:r>
            <a:endParaRPr lang="pt-BR" sz="1800" dirty="0">
              <a:solidFill>
                <a:schemeClr val="bg2">
                  <a:lumMod val="75000"/>
                </a:schemeClr>
              </a:solidFill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40" name="Retângulo 39"/>
          <p:cNvSpPr/>
          <p:nvPr/>
        </p:nvSpPr>
        <p:spPr>
          <a:xfrm>
            <a:off x="4286296" y="372139"/>
            <a:ext cx="674000" cy="467833"/>
          </a:xfrm>
          <a:prstGeom prst="rect">
            <a:avLst/>
          </a:prstGeom>
          <a:solidFill>
            <a:srgbClr val="26D4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sp>
        <p:nvSpPr>
          <p:cNvPr id="41" name="object 16"/>
          <p:cNvSpPr txBox="1"/>
          <p:nvPr/>
        </p:nvSpPr>
        <p:spPr>
          <a:xfrm>
            <a:off x="506017" y="421389"/>
            <a:ext cx="7949482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/>
            <a:r>
              <a:rPr lang="pt-BR" sz="2800" dirty="0" err="1">
                <a:solidFill>
                  <a:schemeClr val="bg2">
                    <a:lumMod val="75000"/>
                  </a:schemeClr>
                </a:solidFill>
                <a:latin typeface="Century Gothic" panose="020B0502020202020204" pitchFamily="34" charset="0"/>
                <a:cs typeface="Calibri"/>
              </a:rPr>
              <a:t>Problem</a:t>
            </a:r>
            <a:r>
              <a:rPr lang="pt-BR" sz="2800" dirty="0">
                <a:solidFill>
                  <a:schemeClr val="bg2">
                    <a:lumMod val="75000"/>
                  </a:schemeClr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lang="pt-BR" sz="2800" dirty="0" err="1">
                <a:solidFill>
                  <a:schemeClr val="bg2">
                    <a:lumMod val="75000"/>
                  </a:schemeClr>
                </a:solidFill>
                <a:latin typeface="Century Gothic" panose="020B0502020202020204" pitchFamily="34" charset="0"/>
                <a:cs typeface="Calibri"/>
              </a:rPr>
              <a:t>we</a:t>
            </a:r>
            <a:r>
              <a:rPr lang="pt-BR" sz="2800" dirty="0">
                <a:solidFill>
                  <a:schemeClr val="bg2">
                    <a:lumMod val="75000"/>
                  </a:schemeClr>
                </a:solidFill>
                <a:latin typeface="Century Gothic" panose="020B0502020202020204" pitchFamily="34" charset="0"/>
                <a:cs typeface="Calibri"/>
              </a:rPr>
              <a:t> solve</a:t>
            </a:r>
          </a:p>
        </p:txBody>
      </p:sp>
      <p:pic>
        <p:nvPicPr>
          <p:cNvPr id="42" name="Picture 19" descr="C:\Users\Michelle\Pictures\Saved Pictures\Saved Pictures\Logo EN escrito verde.png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5316"/>
          <a:stretch/>
        </p:blipFill>
        <p:spPr bwMode="auto">
          <a:xfrm>
            <a:off x="8557053" y="4795047"/>
            <a:ext cx="447248" cy="233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3" name="Straight Connector 4">
            <a:extLst>
              <a:ext uri="{FF2B5EF4-FFF2-40B4-BE49-F238E27FC236}">
                <a16:creationId xmlns:a16="http://schemas.microsoft.com/office/drawing/2014/main" id="{403F5326-8CA7-4AC9-87BD-39A46F7D4C80}"/>
              </a:ext>
            </a:extLst>
          </p:cNvPr>
          <p:cNvCxnSpPr>
            <a:cxnSpLocks/>
          </p:cNvCxnSpPr>
          <p:nvPr/>
        </p:nvCxnSpPr>
        <p:spPr>
          <a:xfrm>
            <a:off x="3078060" y="2036260"/>
            <a:ext cx="3090472" cy="0"/>
          </a:xfrm>
          <a:prstGeom prst="line">
            <a:avLst/>
          </a:prstGeom>
          <a:ln>
            <a:solidFill>
              <a:schemeClr val="tx1">
                <a:alpha val="3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object 11"/>
          <p:cNvSpPr txBox="1"/>
          <p:nvPr/>
        </p:nvSpPr>
        <p:spPr>
          <a:xfrm>
            <a:off x="2631327" y="2171362"/>
            <a:ext cx="3983934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ctr"/>
            <a:r>
              <a:rPr lang="en-US" sz="1600" dirty="0">
                <a:solidFill>
                  <a:schemeClr val="bg2">
                    <a:lumMod val="75000"/>
                  </a:schemeClr>
                </a:solidFill>
                <a:latin typeface="Century Gothic" panose="020B0502020202020204" pitchFamily="34" charset="0"/>
                <a:cs typeface="Calibri"/>
              </a:rPr>
              <a:t>How the analyzes are done today:</a:t>
            </a:r>
            <a:endParaRPr lang="pt-BR" sz="1600" dirty="0">
              <a:solidFill>
                <a:schemeClr val="bg2">
                  <a:lumMod val="75000"/>
                </a:schemeClr>
              </a:solidFill>
              <a:latin typeface="Century Gothic" panose="020B0502020202020204" pitchFamily="34" charset="0"/>
              <a:cs typeface="Calibri"/>
            </a:endParaRPr>
          </a:p>
        </p:txBody>
      </p:sp>
      <p:cxnSp>
        <p:nvCxnSpPr>
          <p:cNvPr id="45" name="Straight Connector 4">
            <a:extLst>
              <a:ext uri="{FF2B5EF4-FFF2-40B4-BE49-F238E27FC236}">
                <a16:creationId xmlns:a16="http://schemas.microsoft.com/office/drawing/2014/main" id="{403F5326-8CA7-4AC9-87BD-39A46F7D4C80}"/>
              </a:ext>
            </a:extLst>
          </p:cNvPr>
          <p:cNvCxnSpPr>
            <a:cxnSpLocks/>
          </p:cNvCxnSpPr>
          <p:nvPr/>
        </p:nvCxnSpPr>
        <p:spPr>
          <a:xfrm>
            <a:off x="3241329" y="4252961"/>
            <a:ext cx="2763930" cy="0"/>
          </a:xfrm>
          <a:prstGeom prst="line">
            <a:avLst/>
          </a:prstGeom>
          <a:ln>
            <a:solidFill>
              <a:schemeClr val="tx1">
                <a:alpha val="3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89710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tângulo 39"/>
          <p:cNvSpPr/>
          <p:nvPr/>
        </p:nvSpPr>
        <p:spPr>
          <a:xfrm>
            <a:off x="4286296" y="372139"/>
            <a:ext cx="674000" cy="467833"/>
          </a:xfrm>
          <a:prstGeom prst="rect">
            <a:avLst/>
          </a:prstGeom>
          <a:solidFill>
            <a:srgbClr val="26D4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sp>
        <p:nvSpPr>
          <p:cNvPr id="41" name="object 16"/>
          <p:cNvSpPr txBox="1"/>
          <p:nvPr/>
        </p:nvSpPr>
        <p:spPr>
          <a:xfrm>
            <a:off x="506017" y="421389"/>
            <a:ext cx="7949482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/>
            <a:r>
              <a:rPr lang="pt-BR" sz="3200" dirty="0" err="1">
                <a:solidFill>
                  <a:schemeClr val="bg2">
                    <a:lumMod val="75000"/>
                  </a:schemeClr>
                </a:solidFill>
                <a:latin typeface="Century Gothic" panose="020B0502020202020204" pitchFamily="34" charset="0"/>
                <a:cs typeface="Calibri"/>
              </a:rPr>
              <a:t>Tbit’s</a:t>
            </a:r>
            <a:r>
              <a:rPr lang="pt-BR" sz="3200" dirty="0">
                <a:solidFill>
                  <a:schemeClr val="bg2">
                    <a:lumMod val="75000"/>
                  </a:schemeClr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lang="pt-BR" sz="3200" dirty="0" err="1">
                <a:solidFill>
                  <a:schemeClr val="bg2">
                    <a:lumMod val="75000"/>
                  </a:schemeClr>
                </a:solidFill>
                <a:latin typeface="Century Gothic" panose="020B0502020202020204" pitchFamily="34" charset="0"/>
                <a:cs typeface="Calibri"/>
              </a:rPr>
              <a:t>solution</a:t>
            </a:r>
            <a:endParaRPr lang="pt-BR" sz="3200" dirty="0">
              <a:solidFill>
                <a:schemeClr val="bg2">
                  <a:lumMod val="75000"/>
                </a:schemeClr>
              </a:solidFill>
              <a:latin typeface="Century Gothic" panose="020B0502020202020204" pitchFamily="34" charset="0"/>
              <a:cs typeface="Calibri"/>
            </a:endParaRPr>
          </a:p>
        </p:txBody>
      </p:sp>
      <p:pic>
        <p:nvPicPr>
          <p:cNvPr id="42" name="Picture 19" descr="C:\Users\Michelle\Pictures\Saved Pictures\Saved Pictures\Logo EN escrito verde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5316"/>
          <a:stretch/>
        </p:blipFill>
        <p:spPr bwMode="auto">
          <a:xfrm>
            <a:off x="8557053" y="4795047"/>
            <a:ext cx="447248" cy="233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object 18"/>
          <p:cNvSpPr txBox="1"/>
          <p:nvPr/>
        </p:nvSpPr>
        <p:spPr>
          <a:xfrm>
            <a:off x="376302" y="2059513"/>
            <a:ext cx="1100812" cy="4001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/>
            <a:r>
              <a:rPr lang="pt-BR" sz="1300" b="1" dirty="0">
                <a:solidFill>
                  <a:srgbClr val="414042"/>
                </a:solidFill>
                <a:latin typeface="Calibri"/>
                <a:cs typeface="Calibri"/>
              </a:rPr>
              <a:t>Capture module</a:t>
            </a:r>
          </a:p>
        </p:txBody>
      </p:sp>
      <p:grpSp>
        <p:nvGrpSpPr>
          <p:cNvPr id="43" name="Grupo 42"/>
          <p:cNvGrpSpPr/>
          <p:nvPr/>
        </p:nvGrpSpPr>
        <p:grpSpPr>
          <a:xfrm rot="16200000">
            <a:off x="4146762" y="-1143670"/>
            <a:ext cx="969798" cy="8369394"/>
            <a:chOff x="10075956" y="18459"/>
            <a:chExt cx="461645" cy="3984016"/>
          </a:xfrm>
        </p:grpSpPr>
        <p:sp>
          <p:nvSpPr>
            <p:cNvPr id="44" name="object 19"/>
            <p:cNvSpPr/>
            <p:nvPr/>
          </p:nvSpPr>
          <p:spPr>
            <a:xfrm>
              <a:off x="10306564" y="298659"/>
              <a:ext cx="0" cy="3541395"/>
            </a:xfrm>
            <a:custGeom>
              <a:avLst/>
              <a:gdLst/>
              <a:ahLst/>
              <a:cxnLst/>
              <a:rect l="l" t="t" r="r" b="b"/>
              <a:pathLst>
                <a:path h="3541395">
                  <a:moveTo>
                    <a:pt x="0" y="0"/>
                  </a:moveTo>
                  <a:lnTo>
                    <a:pt x="0" y="3541179"/>
                  </a:lnTo>
                </a:path>
              </a:pathLst>
            </a:custGeom>
            <a:ln w="99148">
              <a:solidFill>
                <a:srgbClr val="50BF9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" name="object 20"/>
            <p:cNvSpPr/>
            <p:nvPr/>
          </p:nvSpPr>
          <p:spPr>
            <a:xfrm>
              <a:off x="10190878" y="3810070"/>
              <a:ext cx="231775" cy="192405"/>
            </a:xfrm>
            <a:custGeom>
              <a:avLst/>
              <a:gdLst/>
              <a:ahLst/>
              <a:cxnLst/>
              <a:rect l="l" t="t" r="r" b="b"/>
              <a:pathLst>
                <a:path w="231775" h="192404">
                  <a:moveTo>
                    <a:pt x="231368" y="0"/>
                  </a:moveTo>
                  <a:lnTo>
                    <a:pt x="0" y="0"/>
                  </a:lnTo>
                  <a:lnTo>
                    <a:pt x="115684" y="192062"/>
                  </a:lnTo>
                  <a:lnTo>
                    <a:pt x="231368" y="0"/>
                  </a:lnTo>
                  <a:close/>
                </a:path>
              </a:pathLst>
            </a:custGeom>
            <a:solidFill>
              <a:srgbClr val="50BF9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" name="object 21"/>
            <p:cNvSpPr/>
            <p:nvPr/>
          </p:nvSpPr>
          <p:spPr>
            <a:xfrm>
              <a:off x="10075956" y="18459"/>
              <a:ext cx="461645" cy="461645"/>
            </a:xfrm>
            <a:custGeom>
              <a:avLst/>
              <a:gdLst/>
              <a:ahLst/>
              <a:cxnLst/>
              <a:rect l="l" t="t" r="r" b="b"/>
              <a:pathLst>
                <a:path w="461645" h="461644">
                  <a:moveTo>
                    <a:pt x="230619" y="0"/>
                  </a:moveTo>
                  <a:lnTo>
                    <a:pt x="184141" y="4685"/>
                  </a:lnTo>
                  <a:lnTo>
                    <a:pt x="140851" y="18123"/>
                  </a:lnTo>
                  <a:lnTo>
                    <a:pt x="101677" y="39385"/>
                  </a:lnTo>
                  <a:lnTo>
                    <a:pt x="67546" y="67546"/>
                  </a:lnTo>
                  <a:lnTo>
                    <a:pt x="39385" y="101677"/>
                  </a:lnTo>
                  <a:lnTo>
                    <a:pt x="18123" y="140851"/>
                  </a:lnTo>
                  <a:lnTo>
                    <a:pt x="4685" y="184141"/>
                  </a:lnTo>
                  <a:lnTo>
                    <a:pt x="0" y="230619"/>
                  </a:lnTo>
                  <a:lnTo>
                    <a:pt x="4685" y="277097"/>
                  </a:lnTo>
                  <a:lnTo>
                    <a:pt x="18123" y="320387"/>
                  </a:lnTo>
                  <a:lnTo>
                    <a:pt x="39385" y="359561"/>
                  </a:lnTo>
                  <a:lnTo>
                    <a:pt x="67546" y="393692"/>
                  </a:lnTo>
                  <a:lnTo>
                    <a:pt x="101677" y="421852"/>
                  </a:lnTo>
                  <a:lnTo>
                    <a:pt x="140851" y="443115"/>
                  </a:lnTo>
                  <a:lnTo>
                    <a:pt x="184141" y="456553"/>
                  </a:lnTo>
                  <a:lnTo>
                    <a:pt x="230619" y="461238"/>
                  </a:lnTo>
                  <a:lnTo>
                    <a:pt x="277097" y="456553"/>
                  </a:lnTo>
                  <a:lnTo>
                    <a:pt x="320387" y="443115"/>
                  </a:lnTo>
                  <a:lnTo>
                    <a:pt x="359561" y="421852"/>
                  </a:lnTo>
                  <a:lnTo>
                    <a:pt x="393692" y="393692"/>
                  </a:lnTo>
                  <a:lnTo>
                    <a:pt x="421852" y="359561"/>
                  </a:lnTo>
                  <a:lnTo>
                    <a:pt x="443115" y="320387"/>
                  </a:lnTo>
                  <a:lnTo>
                    <a:pt x="456553" y="277097"/>
                  </a:lnTo>
                  <a:lnTo>
                    <a:pt x="461238" y="230619"/>
                  </a:lnTo>
                  <a:lnTo>
                    <a:pt x="456553" y="184141"/>
                  </a:lnTo>
                  <a:lnTo>
                    <a:pt x="443115" y="140851"/>
                  </a:lnTo>
                  <a:lnTo>
                    <a:pt x="421852" y="101677"/>
                  </a:lnTo>
                  <a:lnTo>
                    <a:pt x="393692" y="67546"/>
                  </a:lnTo>
                  <a:lnTo>
                    <a:pt x="359561" y="39385"/>
                  </a:lnTo>
                  <a:lnTo>
                    <a:pt x="320387" y="18123"/>
                  </a:lnTo>
                  <a:lnTo>
                    <a:pt x="277097" y="4685"/>
                  </a:lnTo>
                  <a:lnTo>
                    <a:pt x="23061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" name="object 22"/>
            <p:cNvSpPr/>
            <p:nvPr/>
          </p:nvSpPr>
          <p:spPr>
            <a:xfrm>
              <a:off x="10075956" y="18459"/>
              <a:ext cx="461645" cy="461645"/>
            </a:xfrm>
            <a:custGeom>
              <a:avLst/>
              <a:gdLst/>
              <a:ahLst/>
              <a:cxnLst/>
              <a:rect l="l" t="t" r="r" b="b"/>
              <a:pathLst>
                <a:path w="461645" h="461644">
                  <a:moveTo>
                    <a:pt x="0" y="230619"/>
                  </a:moveTo>
                  <a:lnTo>
                    <a:pt x="4685" y="277097"/>
                  </a:lnTo>
                  <a:lnTo>
                    <a:pt x="18123" y="320387"/>
                  </a:lnTo>
                  <a:lnTo>
                    <a:pt x="39385" y="359561"/>
                  </a:lnTo>
                  <a:lnTo>
                    <a:pt x="67546" y="393692"/>
                  </a:lnTo>
                  <a:lnTo>
                    <a:pt x="101677" y="421852"/>
                  </a:lnTo>
                  <a:lnTo>
                    <a:pt x="140851" y="443115"/>
                  </a:lnTo>
                  <a:lnTo>
                    <a:pt x="184141" y="456553"/>
                  </a:lnTo>
                  <a:lnTo>
                    <a:pt x="230619" y="461238"/>
                  </a:lnTo>
                  <a:lnTo>
                    <a:pt x="277097" y="456553"/>
                  </a:lnTo>
                  <a:lnTo>
                    <a:pt x="320387" y="443115"/>
                  </a:lnTo>
                  <a:lnTo>
                    <a:pt x="359561" y="421852"/>
                  </a:lnTo>
                  <a:lnTo>
                    <a:pt x="393692" y="393692"/>
                  </a:lnTo>
                  <a:lnTo>
                    <a:pt x="421852" y="359561"/>
                  </a:lnTo>
                  <a:lnTo>
                    <a:pt x="443115" y="320387"/>
                  </a:lnTo>
                  <a:lnTo>
                    <a:pt x="456553" y="277097"/>
                  </a:lnTo>
                  <a:lnTo>
                    <a:pt x="461238" y="230619"/>
                  </a:lnTo>
                  <a:lnTo>
                    <a:pt x="456553" y="184141"/>
                  </a:lnTo>
                  <a:lnTo>
                    <a:pt x="443115" y="140851"/>
                  </a:lnTo>
                  <a:lnTo>
                    <a:pt x="421852" y="101677"/>
                  </a:lnTo>
                  <a:lnTo>
                    <a:pt x="393692" y="67546"/>
                  </a:lnTo>
                  <a:lnTo>
                    <a:pt x="359561" y="39385"/>
                  </a:lnTo>
                  <a:lnTo>
                    <a:pt x="320387" y="18123"/>
                  </a:lnTo>
                  <a:lnTo>
                    <a:pt x="277097" y="4685"/>
                  </a:lnTo>
                  <a:lnTo>
                    <a:pt x="230619" y="0"/>
                  </a:lnTo>
                  <a:lnTo>
                    <a:pt x="184141" y="4685"/>
                  </a:lnTo>
                  <a:lnTo>
                    <a:pt x="140851" y="18123"/>
                  </a:lnTo>
                  <a:lnTo>
                    <a:pt x="101677" y="39385"/>
                  </a:lnTo>
                  <a:lnTo>
                    <a:pt x="67546" y="67546"/>
                  </a:lnTo>
                  <a:lnTo>
                    <a:pt x="39385" y="101677"/>
                  </a:lnTo>
                  <a:lnTo>
                    <a:pt x="18123" y="140851"/>
                  </a:lnTo>
                  <a:lnTo>
                    <a:pt x="4685" y="184141"/>
                  </a:lnTo>
                  <a:lnTo>
                    <a:pt x="0" y="230619"/>
                  </a:lnTo>
                  <a:close/>
                </a:path>
              </a:pathLst>
            </a:custGeom>
            <a:ln w="56654">
              <a:solidFill>
                <a:srgbClr val="50BF9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" name="object 23"/>
            <p:cNvSpPr txBox="1"/>
            <p:nvPr/>
          </p:nvSpPr>
          <p:spPr>
            <a:xfrm rot="5400000">
              <a:off x="10204329" y="71018"/>
              <a:ext cx="204470" cy="35162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algn="ctr"/>
              <a:r>
                <a:rPr sz="4800" b="1" spc="210" dirty="0">
                  <a:solidFill>
                    <a:srgbClr val="808285"/>
                  </a:solidFill>
                  <a:latin typeface="Calibri"/>
                  <a:cs typeface="Calibri"/>
                </a:rPr>
                <a:t>1</a:t>
              </a:r>
            </a:p>
          </p:txBody>
        </p:sp>
        <p:sp>
          <p:nvSpPr>
            <p:cNvPr id="49" name="object 24"/>
            <p:cNvSpPr/>
            <p:nvPr/>
          </p:nvSpPr>
          <p:spPr>
            <a:xfrm>
              <a:off x="10075956" y="792308"/>
              <a:ext cx="461645" cy="461645"/>
            </a:xfrm>
            <a:custGeom>
              <a:avLst/>
              <a:gdLst/>
              <a:ahLst/>
              <a:cxnLst/>
              <a:rect l="l" t="t" r="r" b="b"/>
              <a:pathLst>
                <a:path w="461645" h="461644">
                  <a:moveTo>
                    <a:pt x="230619" y="0"/>
                  </a:moveTo>
                  <a:lnTo>
                    <a:pt x="184141" y="4685"/>
                  </a:lnTo>
                  <a:lnTo>
                    <a:pt x="140851" y="18123"/>
                  </a:lnTo>
                  <a:lnTo>
                    <a:pt x="101677" y="39385"/>
                  </a:lnTo>
                  <a:lnTo>
                    <a:pt x="67546" y="67546"/>
                  </a:lnTo>
                  <a:lnTo>
                    <a:pt x="39385" y="101677"/>
                  </a:lnTo>
                  <a:lnTo>
                    <a:pt x="18123" y="140851"/>
                  </a:lnTo>
                  <a:lnTo>
                    <a:pt x="4685" y="184141"/>
                  </a:lnTo>
                  <a:lnTo>
                    <a:pt x="0" y="230619"/>
                  </a:lnTo>
                  <a:lnTo>
                    <a:pt x="4685" y="277097"/>
                  </a:lnTo>
                  <a:lnTo>
                    <a:pt x="18123" y="320387"/>
                  </a:lnTo>
                  <a:lnTo>
                    <a:pt x="39385" y="359561"/>
                  </a:lnTo>
                  <a:lnTo>
                    <a:pt x="67546" y="393692"/>
                  </a:lnTo>
                  <a:lnTo>
                    <a:pt x="101677" y="421852"/>
                  </a:lnTo>
                  <a:lnTo>
                    <a:pt x="140851" y="443115"/>
                  </a:lnTo>
                  <a:lnTo>
                    <a:pt x="184141" y="456553"/>
                  </a:lnTo>
                  <a:lnTo>
                    <a:pt x="230619" y="461238"/>
                  </a:lnTo>
                  <a:lnTo>
                    <a:pt x="277097" y="456553"/>
                  </a:lnTo>
                  <a:lnTo>
                    <a:pt x="320387" y="443115"/>
                  </a:lnTo>
                  <a:lnTo>
                    <a:pt x="359561" y="421852"/>
                  </a:lnTo>
                  <a:lnTo>
                    <a:pt x="393692" y="393692"/>
                  </a:lnTo>
                  <a:lnTo>
                    <a:pt x="421852" y="359561"/>
                  </a:lnTo>
                  <a:lnTo>
                    <a:pt x="443115" y="320387"/>
                  </a:lnTo>
                  <a:lnTo>
                    <a:pt x="456553" y="277097"/>
                  </a:lnTo>
                  <a:lnTo>
                    <a:pt x="461238" y="230619"/>
                  </a:lnTo>
                  <a:lnTo>
                    <a:pt x="456553" y="184141"/>
                  </a:lnTo>
                  <a:lnTo>
                    <a:pt x="443115" y="140851"/>
                  </a:lnTo>
                  <a:lnTo>
                    <a:pt x="421852" y="101677"/>
                  </a:lnTo>
                  <a:lnTo>
                    <a:pt x="393692" y="67546"/>
                  </a:lnTo>
                  <a:lnTo>
                    <a:pt x="359561" y="39385"/>
                  </a:lnTo>
                  <a:lnTo>
                    <a:pt x="320387" y="18123"/>
                  </a:lnTo>
                  <a:lnTo>
                    <a:pt x="277097" y="4685"/>
                  </a:lnTo>
                  <a:lnTo>
                    <a:pt x="23061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" name="object 25"/>
            <p:cNvSpPr/>
            <p:nvPr/>
          </p:nvSpPr>
          <p:spPr>
            <a:xfrm>
              <a:off x="10075956" y="792308"/>
              <a:ext cx="461645" cy="461645"/>
            </a:xfrm>
            <a:custGeom>
              <a:avLst/>
              <a:gdLst/>
              <a:ahLst/>
              <a:cxnLst/>
              <a:rect l="l" t="t" r="r" b="b"/>
              <a:pathLst>
                <a:path w="461645" h="461644">
                  <a:moveTo>
                    <a:pt x="0" y="230619"/>
                  </a:moveTo>
                  <a:lnTo>
                    <a:pt x="4685" y="277097"/>
                  </a:lnTo>
                  <a:lnTo>
                    <a:pt x="18123" y="320387"/>
                  </a:lnTo>
                  <a:lnTo>
                    <a:pt x="39385" y="359561"/>
                  </a:lnTo>
                  <a:lnTo>
                    <a:pt x="67546" y="393692"/>
                  </a:lnTo>
                  <a:lnTo>
                    <a:pt x="101677" y="421852"/>
                  </a:lnTo>
                  <a:lnTo>
                    <a:pt x="140851" y="443115"/>
                  </a:lnTo>
                  <a:lnTo>
                    <a:pt x="184141" y="456553"/>
                  </a:lnTo>
                  <a:lnTo>
                    <a:pt x="230619" y="461238"/>
                  </a:lnTo>
                  <a:lnTo>
                    <a:pt x="277097" y="456553"/>
                  </a:lnTo>
                  <a:lnTo>
                    <a:pt x="320387" y="443115"/>
                  </a:lnTo>
                  <a:lnTo>
                    <a:pt x="359561" y="421852"/>
                  </a:lnTo>
                  <a:lnTo>
                    <a:pt x="393692" y="393692"/>
                  </a:lnTo>
                  <a:lnTo>
                    <a:pt x="421852" y="359561"/>
                  </a:lnTo>
                  <a:lnTo>
                    <a:pt x="443115" y="320387"/>
                  </a:lnTo>
                  <a:lnTo>
                    <a:pt x="456553" y="277097"/>
                  </a:lnTo>
                  <a:lnTo>
                    <a:pt x="461238" y="230619"/>
                  </a:lnTo>
                  <a:lnTo>
                    <a:pt x="456553" y="184141"/>
                  </a:lnTo>
                  <a:lnTo>
                    <a:pt x="443115" y="140851"/>
                  </a:lnTo>
                  <a:lnTo>
                    <a:pt x="421852" y="101677"/>
                  </a:lnTo>
                  <a:lnTo>
                    <a:pt x="393692" y="67546"/>
                  </a:lnTo>
                  <a:lnTo>
                    <a:pt x="359561" y="39385"/>
                  </a:lnTo>
                  <a:lnTo>
                    <a:pt x="320387" y="18123"/>
                  </a:lnTo>
                  <a:lnTo>
                    <a:pt x="277097" y="4685"/>
                  </a:lnTo>
                  <a:lnTo>
                    <a:pt x="230619" y="0"/>
                  </a:lnTo>
                  <a:lnTo>
                    <a:pt x="184141" y="4685"/>
                  </a:lnTo>
                  <a:lnTo>
                    <a:pt x="140851" y="18123"/>
                  </a:lnTo>
                  <a:lnTo>
                    <a:pt x="101677" y="39385"/>
                  </a:lnTo>
                  <a:lnTo>
                    <a:pt x="67546" y="67546"/>
                  </a:lnTo>
                  <a:lnTo>
                    <a:pt x="39385" y="101677"/>
                  </a:lnTo>
                  <a:lnTo>
                    <a:pt x="18123" y="140851"/>
                  </a:lnTo>
                  <a:lnTo>
                    <a:pt x="4685" y="184141"/>
                  </a:lnTo>
                  <a:lnTo>
                    <a:pt x="0" y="230619"/>
                  </a:lnTo>
                  <a:close/>
                </a:path>
              </a:pathLst>
            </a:custGeom>
            <a:ln w="56654">
              <a:solidFill>
                <a:srgbClr val="50BF9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1" name="object 26"/>
            <p:cNvSpPr txBox="1"/>
            <p:nvPr/>
          </p:nvSpPr>
          <p:spPr>
            <a:xfrm rot="5400000">
              <a:off x="10204544" y="850975"/>
              <a:ext cx="204470" cy="35162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algn="ctr"/>
              <a:r>
                <a:rPr sz="4800" b="1" spc="210" dirty="0">
                  <a:solidFill>
                    <a:srgbClr val="808285"/>
                  </a:solidFill>
                  <a:latin typeface="Calibri"/>
                  <a:cs typeface="Calibri"/>
                </a:rPr>
                <a:t>2</a:t>
              </a:r>
            </a:p>
          </p:txBody>
        </p:sp>
        <p:sp>
          <p:nvSpPr>
            <p:cNvPr id="52" name="object 27"/>
            <p:cNvSpPr/>
            <p:nvPr/>
          </p:nvSpPr>
          <p:spPr>
            <a:xfrm>
              <a:off x="10075956" y="1566158"/>
              <a:ext cx="461645" cy="461645"/>
            </a:xfrm>
            <a:custGeom>
              <a:avLst/>
              <a:gdLst/>
              <a:ahLst/>
              <a:cxnLst/>
              <a:rect l="l" t="t" r="r" b="b"/>
              <a:pathLst>
                <a:path w="461645" h="461645">
                  <a:moveTo>
                    <a:pt x="230619" y="0"/>
                  </a:moveTo>
                  <a:lnTo>
                    <a:pt x="184141" y="4685"/>
                  </a:lnTo>
                  <a:lnTo>
                    <a:pt x="140851" y="18123"/>
                  </a:lnTo>
                  <a:lnTo>
                    <a:pt x="101677" y="39385"/>
                  </a:lnTo>
                  <a:lnTo>
                    <a:pt x="67546" y="67546"/>
                  </a:lnTo>
                  <a:lnTo>
                    <a:pt x="39385" y="101677"/>
                  </a:lnTo>
                  <a:lnTo>
                    <a:pt x="18123" y="140851"/>
                  </a:lnTo>
                  <a:lnTo>
                    <a:pt x="4685" y="184141"/>
                  </a:lnTo>
                  <a:lnTo>
                    <a:pt x="0" y="230619"/>
                  </a:lnTo>
                  <a:lnTo>
                    <a:pt x="4685" y="277097"/>
                  </a:lnTo>
                  <a:lnTo>
                    <a:pt x="18123" y="320387"/>
                  </a:lnTo>
                  <a:lnTo>
                    <a:pt x="39385" y="359561"/>
                  </a:lnTo>
                  <a:lnTo>
                    <a:pt x="67546" y="393692"/>
                  </a:lnTo>
                  <a:lnTo>
                    <a:pt x="101677" y="421852"/>
                  </a:lnTo>
                  <a:lnTo>
                    <a:pt x="140851" y="443115"/>
                  </a:lnTo>
                  <a:lnTo>
                    <a:pt x="184141" y="456553"/>
                  </a:lnTo>
                  <a:lnTo>
                    <a:pt x="230619" y="461238"/>
                  </a:lnTo>
                  <a:lnTo>
                    <a:pt x="277097" y="456553"/>
                  </a:lnTo>
                  <a:lnTo>
                    <a:pt x="320387" y="443115"/>
                  </a:lnTo>
                  <a:lnTo>
                    <a:pt x="359561" y="421852"/>
                  </a:lnTo>
                  <a:lnTo>
                    <a:pt x="393692" y="393692"/>
                  </a:lnTo>
                  <a:lnTo>
                    <a:pt x="421852" y="359561"/>
                  </a:lnTo>
                  <a:lnTo>
                    <a:pt x="443115" y="320387"/>
                  </a:lnTo>
                  <a:lnTo>
                    <a:pt x="456553" y="277097"/>
                  </a:lnTo>
                  <a:lnTo>
                    <a:pt x="461238" y="230619"/>
                  </a:lnTo>
                  <a:lnTo>
                    <a:pt x="456553" y="184141"/>
                  </a:lnTo>
                  <a:lnTo>
                    <a:pt x="443115" y="140851"/>
                  </a:lnTo>
                  <a:lnTo>
                    <a:pt x="421852" y="101677"/>
                  </a:lnTo>
                  <a:lnTo>
                    <a:pt x="393692" y="67546"/>
                  </a:lnTo>
                  <a:lnTo>
                    <a:pt x="359561" y="39385"/>
                  </a:lnTo>
                  <a:lnTo>
                    <a:pt x="320387" y="18123"/>
                  </a:lnTo>
                  <a:lnTo>
                    <a:pt x="277097" y="4685"/>
                  </a:lnTo>
                  <a:lnTo>
                    <a:pt x="23061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3" name="object 28"/>
            <p:cNvSpPr/>
            <p:nvPr/>
          </p:nvSpPr>
          <p:spPr>
            <a:xfrm>
              <a:off x="10075956" y="1566158"/>
              <a:ext cx="461645" cy="461645"/>
            </a:xfrm>
            <a:custGeom>
              <a:avLst/>
              <a:gdLst/>
              <a:ahLst/>
              <a:cxnLst/>
              <a:rect l="l" t="t" r="r" b="b"/>
              <a:pathLst>
                <a:path w="461645" h="461645">
                  <a:moveTo>
                    <a:pt x="0" y="230619"/>
                  </a:moveTo>
                  <a:lnTo>
                    <a:pt x="4685" y="277097"/>
                  </a:lnTo>
                  <a:lnTo>
                    <a:pt x="18123" y="320387"/>
                  </a:lnTo>
                  <a:lnTo>
                    <a:pt x="39385" y="359561"/>
                  </a:lnTo>
                  <a:lnTo>
                    <a:pt x="67546" y="393692"/>
                  </a:lnTo>
                  <a:lnTo>
                    <a:pt x="101677" y="421852"/>
                  </a:lnTo>
                  <a:lnTo>
                    <a:pt x="140851" y="443115"/>
                  </a:lnTo>
                  <a:lnTo>
                    <a:pt x="184141" y="456553"/>
                  </a:lnTo>
                  <a:lnTo>
                    <a:pt x="230619" y="461238"/>
                  </a:lnTo>
                  <a:lnTo>
                    <a:pt x="277097" y="456553"/>
                  </a:lnTo>
                  <a:lnTo>
                    <a:pt x="320387" y="443115"/>
                  </a:lnTo>
                  <a:lnTo>
                    <a:pt x="359561" y="421852"/>
                  </a:lnTo>
                  <a:lnTo>
                    <a:pt x="393692" y="393692"/>
                  </a:lnTo>
                  <a:lnTo>
                    <a:pt x="421852" y="359561"/>
                  </a:lnTo>
                  <a:lnTo>
                    <a:pt x="443115" y="320387"/>
                  </a:lnTo>
                  <a:lnTo>
                    <a:pt x="456553" y="277097"/>
                  </a:lnTo>
                  <a:lnTo>
                    <a:pt x="461238" y="230619"/>
                  </a:lnTo>
                  <a:lnTo>
                    <a:pt x="456553" y="184141"/>
                  </a:lnTo>
                  <a:lnTo>
                    <a:pt x="443115" y="140851"/>
                  </a:lnTo>
                  <a:lnTo>
                    <a:pt x="421852" y="101677"/>
                  </a:lnTo>
                  <a:lnTo>
                    <a:pt x="393692" y="67546"/>
                  </a:lnTo>
                  <a:lnTo>
                    <a:pt x="359561" y="39385"/>
                  </a:lnTo>
                  <a:lnTo>
                    <a:pt x="320387" y="18123"/>
                  </a:lnTo>
                  <a:lnTo>
                    <a:pt x="277097" y="4685"/>
                  </a:lnTo>
                  <a:lnTo>
                    <a:pt x="230619" y="0"/>
                  </a:lnTo>
                  <a:lnTo>
                    <a:pt x="184141" y="4685"/>
                  </a:lnTo>
                  <a:lnTo>
                    <a:pt x="140851" y="18123"/>
                  </a:lnTo>
                  <a:lnTo>
                    <a:pt x="101677" y="39385"/>
                  </a:lnTo>
                  <a:lnTo>
                    <a:pt x="67546" y="67546"/>
                  </a:lnTo>
                  <a:lnTo>
                    <a:pt x="39385" y="101677"/>
                  </a:lnTo>
                  <a:lnTo>
                    <a:pt x="18123" y="140851"/>
                  </a:lnTo>
                  <a:lnTo>
                    <a:pt x="4685" y="184141"/>
                  </a:lnTo>
                  <a:lnTo>
                    <a:pt x="0" y="230619"/>
                  </a:lnTo>
                  <a:close/>
                </a:path>
              </a:pathLst>
            </a:custGeom>
            <a:ln w="56654">
              <a:solidFill>
                <a:srgbClr val="50BF9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29"/>
            <p:cNvSpPr txBox="1"/>
            <p:nvPr/>
          </p:nvSpPr>
          <p:spPr>
            <a:xfrm rot="5400000">
              <a:off x="10204544" y="1621170"/>
              <a:ext cx="204470" cy="35162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algn="ctr">
                <a:lnSpc>
                  <a:spcPct val="100000"/>
                </a:lnSpc>
              </a:pPr>
              <a:r>
                <a:rPr sz="4800" b="1" spc="210" dirty="0">
                  <a:solidFill>
                    <a:srgbClr val="808285"/>
                  </a:solidFill>
                  <a:latin typeface="Calibri"/>
                  <a:cs typeface="Calibri"/>
                </a:rPr>
                <a:t>3</a:t>
              </a:r>
            </a:p>
          </p:txBody>
        </p:sp>
        <p:sp>
          <p:nvSpPr>
            <p:cNvPr id="55" name="object 30"/>
            <p:cNvSpPr/>
            <p:nvPr/>
          </p:nvSpPr>
          <p:spPr>
            <a:xfrm>
              <a:off x="10075956" y="2340007"/>
              <a:ext cx="461645" cy="461645"/>
            </a:xfrm>
            <a:custGeom>
              <a:avLst/>
              <a:gdLst/>
              <a:ahLst/>
              <a:cxnLst/>
              <a:rect l="l" t="t" r="r" b="b"/>
              <a:pathLst>
                <a:path w="461645" h="461645">
                  <a:moveTo>
                    <a:pt x="230619" y="0"/>
                  </a:moveTo>
                  <a:lnTo>
                    <a:pt x="184141" y="4685"/>
                  </a:lnTo>
                  <a:lnTo>
                    <a:pt x="140851" y="18123"/>
                  </a:lnTo>
                  <a:lnTo>
                    <a:pt x="101677" y="39385"/>
                  </a:lnTo>
                  <a:lnTo>
                    <a:pt x="67546" y="67546"/>
                  </a:lnTo>
                  <a:lnTo>
                    <a:pt x="39385" y="101677"/>
                  </a:lnTo>
                  <a:lnTo>
                    <a:pt x="18123" y="140851"/>
                  </a:lnTo>
                  <a:lnTo>
                    <a:pt x="4685" y="184141"/>
                  </a:lnTo>
                  <a:lnTo>
                    <a:pt x="0" y="230619"/>
                  </a:lnTo>
                  <a:lnTo>
                    <a:pt x="4685" y="277097"/>
                  </a:lnTo>
                  <a:lnTo>
                    <a:pt x="18123" y="320387"/>
                  </a:lnTo>
                  <a:lnTo>
                    <a:pt x="39385" y="359561"/>
                  </a:lnTo>
                  <a:lnTo>
                    <a:pt x="67546" y="393692"/>
                  </a:lnTo>
                  <a:lnTo>
                    <a:pt x="101677" y="421852"/>
                  </a:lnTo>
                  <a:lnTo>
                    <a:pt x="140851" y="443115"/>
                  </a:lnTo>
                  <a:lnTo>
                    <a:pt x="184141" y="456553"/>
                  </a:lnTo>
                  <a:lnTo>
                    <a:pt x="230619" y="461238"/>
                  </a:lnTo>
                  <a:lnTo>
                    <a:pt x="277097" y="456553"/>
                  </a:lnTo>
                  <a:lnTo>
                    <a:pt x="320387" y="443115"/>
                  </a:lnTo>
                  <a:lnTo>
                    <a:pt x="359561" y="421852"/>
                  </a:lnTo>
                  <a:lnTo>
                    <a:pt x="393692" y="393692"/>
                  </a:lnTo>
                  <a:lnTo>
                    <a:pt x="421852" y="359561"/>
                  </a:lnTo>
                  <a:lnTo>
                    <a:pt x="443115" y="320387"/>
                  </a:lnTo>
                  <a:lnTo>
                    <a:pt x="456553" y="277097"/>
                  </a:lnTo>
                  <a:lnTo>
                    <a:pt x="461238" y="230619"/>
                  </a:lnTo>
                  <a:lnTo>
                    <a:pt x="456553" y="184141"/>
                  </a:lnTo>
                  <a:lnTo>
                    <a:pt x="443115" y="140851"/>
                  </a:lnTo>
                  <a:lnTo>
                    <a:pt x="421852" y="101677"/>
                  </a:lnTo>
                  <a:lnTo>
                    <a:pt x="393692" y="67546"/>
                  </a:lnTo>
                  <a:lnTo>
                    <a:pt x="359561" y="39385"/>
                  </a:lnTo>
                  <a:lnTo>
                    <a:pt x="320387" y="18123"/>
                  </a:lnTo>
                  <a:lnTo>
                    <a:pt x="277097" y="4685"/>
                  </a:lnTo>
                  <a:lnTo>
                    <a:pt x="23061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6" name="object 31"/>
            <p:cNvSpPr/>
            <p:nvPr/>
          </p:nvSpPr>
          <p:spPr>
            <a:xfrm>
              <a:off x="10075956" y="2340007"/>
              <a:ext cx="461645" cy="461645"/>
            </a:xfrm>
            <a:custGeom>
              <a:avLst/>
              <a:gdLst/>
              <a:ahLst/>
              <a:cxnLst/>
              <a:rect l="l" t="t" r="r" b="b"/>
              <a:pathLst>
                <a:path w="461645" h="461645">
                  <a:moveTo>
                    <a:pt x="0" y="230619"/>
                  </a:moveTo>
                  <a:lnTo>
                    <a:pt x="4685" y="277097"/>
                  </a:lnTo>
                  <a:lnTo>
                    <a:pt x="18123" y="320387"/>
                  </a:lnTo>
                  <a:lnTo>
                    <a:pt x="39385" y="359561"/>
                  </a:lnTo>
                  <a:lnTo>
                    <a:pt x="67546" y="393692"/>
                  </a:lnTo>
                  <a:lnTo>
                    <a:pt x="101677" y="421852"/>
                  </a:lnTo>
                  <a:lnTo>
                    <a:pt x="140851" y="443115"/>
                  </a:lnTo>
                  <a:lnTo>
                    <a:pt x="184141" y="456553"/>
                  </a:lnTo>
                  <a:lnTo>
                    <a:pt x="230619" y="461238"/>
                  </a:lnTo>
                  <a:lnTo>
                    <a:pt x="277097" y="456553"/>
                  </a:lnTo>
                  <a:lnTo>
                    <a:pt x="320387" y="443115"/>
                  </a:lnTo>
                  <a:lnTo>
                    <a:pt x="359561" y="421852"/>
                  </a:lnTo>
                  <a:lnTo>
                    <a:pt x="393692" y="393692"/>
                  </a:lnTo>
                  <a:lnTo>
                    <a:pt x="421852" y="359561"/>
                  </a:lnTo>
                  <a:lnTo>
                    <a:pt x="443115" y="320387"/>
                  </a:lnTo>
                  <a:lnTo>
                    <a:pt x="456553" y="277097"/>
                  </a:lnTo>
                  <a:lnTo>
                    <a:pt x="461238" y="230619"/>
                  </a:lnTo>
                  <a:lnTo>
                    <a:pt x="456553" y="184141"/>
                  </a:lnTo>
                  <a:lnTo>
                    <a:pt x="443115" y="140851"/>
                  </a:lnTo>
                  <a:lnTo>
                    <a:pt x="421852" y="101677"/>
                  </a:lnTo>
                  <a:lnTo>
                    <a:pt x="393692" y="67546"/>
                  </a:lnTo>
                  <a:lnTo>
                    <a:pt x="359561" y="39385"/>
                  </a:lnTo>
                  <a:lnTo>
                    <a:pt x="320387" y="18123"/>
                  </a:lnTo>
                  <a:lnTo>
                    <a:pt x="277097" y="4685"/>
                  </a:lnTo>
                  <a:lnTo>
                    <a:pt x="230619" y="0"/>
                  </a:lnTo>
                  <a:lnTo>
                    <a:pt x="184141" y="4685"/>
                  </a:lnTo>
                  <a:lnTo>
                    <a:pt x="140851" y="18123"/>
                  </a:lnTo>
                  <a:lnTo>
                    <a:pt x="101677" y="39385"/>
                  </a:lnTo>
                  <a:lnTo>
                    <a:pt x="67546" y="67546"/>
                  </a:lnTo>
                  <a:lnTo>
                    <a:pt x="39385" y="101677"/>
                  </a:lnTo>
                  <a:lnTo>
                    <a:pt x="18123" y="140851"/>
                  </a:lnTo>
                  <a:lnTo>
                    <a:pt x="4685" y="184141"/>
                  </a:lnTo>
                  <a:lnTo>
                    <a:pt x="0" y="230619"/>
                  </a:lnTo>
                  <a:close/>
                </a:path>
              </a:pathLst>
            </a:custGeom>
            <a:ln w="56654">
              <a:solidFill>
                <a:srgbClr val="50BF9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7" name="object 32"/>
            <p:cNvSpPr txBox="1"/>
            <p:nvPr/>
          </p:nvSpPr>
          <p:spPr>
            <a:xfrm rot="5400000">
              <a:off x="10204329" y="2390966"/>
              <a:ext cx="204470" cy="35162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algn="ctr"/>
              <a:r>
                <a:rPr sz="4800" b="1" spc="210" dirty="0">
                  <a:solidFill>
                    <a:srgbClr val="808285"/>
                  </a:solidFill>
                  <a:latin typeface="Calibri"/>
                  <a:cs typeface="Calibri"/>
                </a:rPr>
                <a:t>4</a:t>
              </a:r>
            </a:p>
          </p:txBody>
        </p:sp>
        <p:sp>
          <p:nvSpPr>
            <p:cNvPr id="58" name="object 33"/>
            <p:cNvSpPr/>
            <p:nvPr/>
          </p:nvSpPr>
          <p:spPr>
            <a:xfrm>
              <a:off x="10075956" y="3113856"/>
              <a:ext cx="461645" cy="461645"/>
            </a:xfrm>
            <a:custGeom>
              <a:avLst/>
              <a:gdLst/>
              <a:ahLst/>
              <a:cxnLst/>
              <a:rect l="l" t="t" r="r" b="b"/>
              <a:pathLst>
                <a:path w="461645" h="461645">
                  <a:moveTo>
                    <a:pt x="230619" y="0"/>
                  </a:moveTo>
                  <a:lnTo>
                    <a:pt x="184141" y="4685"/>
                  </a:lnTo>
                  <a:lnTo>
                    <a:pt x="140851" y="18123"/>
                  </a:lnTo>
                  <a:lnTo>
                    <a:pt x="101677" y="39385"/>
                  </a:lnTo>
                  <a:lnTo>
                    <a:pt x="67546" y="67546"/>
                  </a:lnTo>
                  <a:lnTo>
                    <a:pt x="39385" y="101677"/>
                  </a:lnTo>
                  <a:lnTo>
                    <a:pt x="18123" y="140851"/>
                  </a:lnTo>
                  <a:lnTo>
                    <a:pt x="4685" y="184141"/>
                  </a:lnTo>
                  <a:lnTo>
                    <a:pt x="0" y="230619"/>
                  </a:lnTo>
                  <a:lnTo>
                    <a:pt x="4685" y="277097"/>
                  </a:lnTo>
                  <a:lnTo>
                    <a:pt x="18123" y="320387"/>
                  </a:lnTo>
                  <a:lnTo>
                    <a:pt x="39385" y="359561"/>
                  </a:lnTo>
                  <a:lnTo>
                    <a:pt x="67546" y="393692"/>
                  </a:lnTo>
                  <a:lnTo>
                    <a:pt x="101677" y="421852"/>
                  </a:lnTo>
                  <a:lnTo>
                    <a:pt x="140851" y="443115"/>
                  </a:lnTo>
                  <a:lnTo>
                    <a:pt x="184141" y="456553"/>
                  </a:lnTo>
                  <a:lnTo>
                    <a:pt x="230619" y="461238"/>
                  </a:lnTo>
                  <a:lnTo>
                    <a:pt x="277097" y="456553"/>
                  </a:lnTo>
                  <a:lnTo>
                    <a:pt x="320387" y="443115"/>
                  </a:lnTo>
                  <a:lnTo>
                    <a:pt x="359561" y="421852"/>
                  </a:lnTo>
                  <a:lnTo>
                    <a:pt x="393692" y="393692"/>
                  </a:lnTo>
                  <a:lnTo>
                    <a:pt x="421852" y="359561"/>
                  </a:lnTo>
                  <a:lnTo>
                    <a:pt x="443115" y="320387"/>
                  </a:lnTo>
                  <a:lnTo>
                    <a:pt x="456553" y="277097"/>
                  </a:lnTo>
                  <a:lnTo>
                    <a:pt x="461238" y="230619"/>
                  </a:lnTo>
                  <a:lnTo>
                    <a:pt x="456553" y="184141"/>
                  </a:lnTo>
                  <a:lnTo>
                    <a:pt x="443115" y="140851"/>
                  </a:lnTo>
                  <a:lnTo>
                    <a:pt x="421852" y="101677"/>
                  </a:lnTo>
                  <a:lnTo>
                    <a:pt x="393692" y="67546"/>
                  </a:lnTo>
                  <a:lnTo>
                    <a:pt x="359561" y="39385"/>
                  </a:lnTo>
                  <a:lnTo>
                    <a:pt x="320387" y="18123"/>
                  </a:lnTo>
                  <a:lnTo>
                    <a:pt x="277097" y="4685"/>
                  </a:lnTo>
                  <a:lnTo>
                    <a:pt x="23061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9" name="object 34"/>
            <p:cNvSpPr/>
            <p:nvPr/>
          </p:nvSpPr>
          <p:spPr>
            <a:xfrm>
              <a:off x="10075956" y="3113856"/>
              <a:ext cx="461645" cy="461645"/>
            </a:xfrm>
            <a:custGeom>
              <a:avLst/>
              <a:gdLst/>
              <a:ahLst/>
              <a:cxnLst/>
              <a:rect l="l" t="t" r="r" b="b"/>
              <a:pathLst>
                <a:path w="461645" h="461645">
                  <a:moveTo>
                    <a:pt x="0" y="230619"/>
                  </a:moveTo>
                  <a:lnTo>
                    <a:pt x="4685" y="277097"/>
                  </a:lnTo>
                  <a:lnTo>
                    <a:pt x="18123" y="320387"/>
                  </a:lnTo>
                  <a:lnTo>
                    <a:pt x="39385" y="359561"/>
                  </a:lnTo>
                  <a:lnTo>
                    <a:pt x="67546" y="393692"/>
                  </a:lnTo>
                  <a:lnTo>
                    <a:pt x="101677" y="421852"/>
                  </a:lnTo>
                  <a:lnTo>
                    <a:pt x="140851" y="443115"/>
                  </a:lnTo>
                  <a:lnTo>
                    <a:pt x="184141" y="456553"/>
                  </a:lnTo>
                  <a:lnTo>
                    <a:pt x="230619" y="461238"/>
                  </a:lnTo>
                  <a:lnTo>
                    <a:pt x="277097" y="456553"/>
                  </a:lnTo>
                  <a:lnTo>
                    <a:pt x="320387" y="443115"/>
                  </a:lnTo>
                  <a:lnTo>
                    <a:pt x="359561" y="421852"/>
                  </a:lnTo>
                  <a:lnTo>
                    <a:pt x="393692" y="393692"/>
                  </a:lnTo>
                  <a:lnTo>
                    <a:pt x="421852" y="359561"/>
                  </a:lnTo>
                  <a:lnTo>
                    <a:pt x="443115" y="320387"/>
                  </a:lnTo>
                  <a:lnTo>
                    <a:pt x="456553" y="277097"/>
                  </a:lnTo>
                  <a:lnTo>
                    <a:pt x="461238" y="230619"/>
                  </a:lnTo>
                  <a:lnTo>
                    <a:pt x="456553" y="184141"/>
                  </a:lnTo>
                  <a:lnTo>
                    <a:pt x="443115" y="140851"/>
                  </a:lnTo>
                  <a:lnTo>
                    <a:pt x="421852" y="101677"/>
                  </a:lnTo>
                  <a:lnTo>
                    <a:pt x="393692" y="67546"/>
                  </a:lnTo>
                  <a:lnTo>
                    <a:pt x="359561" y="39385"/>
                  </a:lnTo>
                  <a:lnTo>
                    <a:pt x="320387" y="18123"/>
                  </a:lnTo>
                  <a:lnTo>
                    <a:pt x="277097" y="4685"/>
                  </a:lnTo>
                  <a:lnTo>
                    <a:pt x="230619" y="0"/>
                  </a:lnTo>
                  <a:lnTo>
                    <a:pt x="184141" y="4685"/>
                  </a:lnTo>
                  <a:lnTo>
                    <a:pt x="140851" y="18123"/>
                  </a:lnTo>
                  <a:lnTo>
                    <a:pt x="101677" y="39385"/>
                  </a:lnTo>
                  <a:lnTo>
                    <a:pt x="67546" y="67546"/>
                  </a:lnTo>
                  <a:lnTo>
                    <a:pt x="39385" y="101677"/>
                  </a:lnTo>
                  <a:lnTo>
                    <a:pt x="18123" y="140851"/>
                  </a:lnTo>
                  <a:lnTo>
                    <a:pt x="4685" y="184141"/>
                  </a:lnTo>
                  <a:lnTo>
                    <a:pt x="0" y="230619"/>
                  </a:lnTo>
                  <a:close/>
                </a:path>
              </a:pathLst>
            </a:custGeom>
            <a:ln w="56654">
              <a:solidFill>
                <a:srgbClr val="50BF9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0" name="object 35"/>
            <p:cNvSpPr txBox="1"/>
            <p:nvPr/>
          </p:nvSpPr>
          <p:spPr>
            <a:xfrm rot="5400000">
              <a:off x="10204329" y="3168868"/>
              <a:ext cx="204470" cy="35162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algn="ctr">
                <a:lnSpc>
                  <a:spcPct val="100000"/>
                </a:lnSpc>
              </a:pPr>
              <a:r>
                <a:rPr sz="4800" b="1" spc="210" dirty="0">
                  <a:solidFill>
                    <a:srgbClr val="808285"/>
                  </a:solidFill>
                  <a:latin typeface="Calibri"/>
                  <a:cs typeface="Calibri"/>
                </a:rPr>
                <a:t>5</a:t>
              </a:r>
              <a:endParaRPr sz="2350" dirty="0">
                <a:latin typeface="Calibri"/>
                <a:cs typeface="Calibri"/>
              </a:endParaRPr>
            </a:p>
          </p:txBody>
        </p:sp>
      </p:grpSp>
      <p:sp>
        <p:nvSpPr>
          <p:cNvPr id="61" name="object 37"/>
          <p:cNvSpPr txBox="1"/>
          <p:nvPr/>
        </p:nvSpPr>
        <p:spPr>
          <a:xfrm>
            <a:off x="2094976" y="2059513"/>
            <a:ext cx="925090" cy="4001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/>
            <a:r>
              <a:rPr lang="pt-BR" sz="1300" b="1" dirty="0" err="1">
                <a:solidFill>
                  <a:srgbClr val="414042"/>
                </a:solidFill>
                <a:latin typeface="Calibri"/>
                <a:cs typeface="Calibri"/>
              </a:rPr>
              <a:t>Image</a:t>
            </a:r>
            <a:r>
              <a:rPr lang="pt-BR" sz="1300" b="1" dirty="0">
                <a:solidFill>
                  <a:srgbClr val="414042"/>
                </a:solidFill>
                <a:latin typeface="Calibri"/>
                <a:cs typeface="Calibri"/>
              </a:rPr>
              <a:t> </a:t>
            </a:r>
            <a:r>
              <a:rPr lang="pt-BR" sz="1300" b="1" dirty="0" err="1">
                <a:solidFill>
                  <a:srgbClr val="414042"/>
                </a:solidFill>
                <a:latin typeface="Calibri"/>
                <a:cs typeface="Calibri"/>
              </a:rPr>
              <a:t>captured</a:t>
            </a:r>
            <a:endParaRPr lang="pt-BR" sz="1300" b="1" dirty="0">
              <a:solidFill>
                <a:srgbClr val="414042"/>
              </a:solidFill>
              <a:latin typeface="Calibri"/>
              <a:cs typeface="Calibri"/>
            </a:endParaRPr>
          </a:p>
        </p:txBody>
      </p:sp>
      <p:sp>
        <p:nvSpPr>
          <p:cNvPr id="62" name="object 38"/>
          <p:cNvSpPr txBox="1"/>
          <p:nvPr/>
        </p:nvSpPr>
        <p:spPr>
          <a:xfrm>
            <a:off x="3708201" y="2159541"/>
            <a:ext cx="949960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/>
            <a:r>
              <a:rPr lang="pt-BR" sz="1300" b="1" dirty="0" err="1">
                <a:solidFill>
                  <a:srgbClr val="414042"/>
                </a:solidFill>
                <a:latin typeface="Calibri"/>
                <a:cs typeface="Calibri"/>
              </a:rPr>
              <a:t>Classification</a:t>
            </a:r>
            <a:endParaRPr lang="pt-BR" sz="1300" dirty="0">
              <a:latin typeface="Calibri"/>
              <a:cs typeface="Calibri"/>
            </a:endParaRPr>
          </a:p>
        </p:txBody>
      </p:sp>
      <p:sp>
        <p:nvSpPr>
          <p:cNvPr id="63" name="object 39"/>
          <p:cNvSpPr txBox="1"/>
          <p:nvPr/>
        </p:nvSpPr>
        <p:spPr>
          <a:xfrm>
            <a:off x="6809022" y="2097875"/>
            <a:ext cx="1250950" cy="4046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ctr">
              <a:lnSpc>
                <a:spcPct val="102899"/>
              </a:lnSpc>
            </a:pPr>
            <a:r>
              <a:rPr lang="pt-BR" sz="1300" b="1" dirty="0">
                <a:solidFill>
                  <a:srgbClr val="414042"/>
                </a:solidFill>
                <a:latin typeface="Calibri"/>
                <a:cs typeface="Calibri"/>
              </a:rPr>
              <a:t>Data </a:t>
            </a:r>
          </a:p>
          <a:p>
            <a:pPr marL="12700" marR="5080" algn="ctr">
              <a:lnSpc>
                <a:spcPct val="102899"/>
              </a:lnSpc>
            </a:pPr>
            <a:r>
              <a:rPr lang="pt-BR" sz="1300" b="1" dirty="0" err="1">
                <a:solidFill>
                  <a:srgbClr val="414042"/>
                </a:solidFill>
                <a:latin typeface="Calibri"/>
                <a:cs typeface="Calibri"/>
              </a:rPr>
              <a:t>storage</a:t>
            </a:r>
            <a:endParaRPr lang="pt-BR" sz="1300" b="1" dirty="0">
              <a:solidFill>
                <a:srgbClr val="414042"/>
              </a:solidFill>
              <a:latin typeface="Calibri"/>
              <a:cs typeface="Calibri"/>
            </a:endParaRPr>
          </a:p>
        </p:txBody>
      </p:sp>
      <p:sp>
        <p:nvSpPr>
          <p:cNvPr id="64" name="object 38"/>
          <p:cNvSpPr txBox="1"/>
          <p:nvPr/>
        </p:nvSpPr>
        <p:spPr>
          <a:xfrm>
            <a:off x="5333859" y="2159541"/>
            <a:ext cx="949960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/>
            <a:r>
              <a:rPr lang="pt-BR" sz="1300" b="1" dirty="0" err="1">
                <a:solidFill>
                  <a:srgbClr val="414042"/>
                </a:solidFill>
                <a:latin typeface="Calibri"/>
                <a:cs typeface="Calibri"/>
              </a:rPr>
              <a:t>Reports</a:t>
            </a:r>
            <a:endParaRPr lang="pt-BR" sz="1300" b="1" dirty="0">
              <a:solidFill>
                <a:srgbClr val="414042"/>
              </a:solidFill>
              <a:latin typeface="Calibri"/>
              <a:cs typeface="Calibri"/>
            </a:endParaRPr>
          </a:p>
        </p:txBody>
      </p:sp>
      <p:pic>
        <p:nvPicPr>
          <p:cNvPr id="65" name="Picture 2" descr="C:\Users\Michelle\Downloads\analytics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9427" y="3772468"/>
            <a:ext cx="741792" cy="741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5" descr="C:\Users\Michelle\Downloads\Classificação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48" t="33073" r="6868" b="14550"/>
          <a:stretch/>
        </p:blipFill>
        <p:spPr bwMode="auto">
          <a:xfrm>
            <a:off x="3796977" y="3865588"/>
            <a:ext cx="772408" cy="4526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7" descr="C:\Users\Michelle\Downloads\Destaques (1).p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67" t="11131" r="10167" b="11131"/>
          <a:stretch/>
        </p:blipFill>
        <p:spPr bwMode="auto">
          <a:xfrm>
            <a:off x="2182860" y="3726305"/>
            <a:ext cx="749322" cy="7311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2" descr="https://www.tbit.com.br/wp-content/uploads/2017/05/IMG_4444-copy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205" y="3786144"/>
            <a:ext cx="799010" cy="611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6" descr="C:\Users\Michelle\Downloads\download (1)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5066" y="3772468"/>
            <a:ext cx="638862" cy="63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113839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object 16"/>
          <p:cNvSpPr txBox="1"/>
          <p:nvPr/>
        </p:nvSpPr>
        <p:spPr>
          <a:xfrm>
            <a:off x="113172" y="2247238"/>
            <a:ext cx="2309988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/>
            <a:r>
              <a:rPr lang="pt-BR" sz="3200" dirty="0" err="1">
                <a:solidFill>
                  <a:schemeClr val="bg2">
                    <a:lumMod val="75000"/>
                  </a:schemeClr>
                </a:solidFill>
                <a:latin typeface="Century Gothic" panose="020B0502020202020204" pitchFamily="34" charset="0"/>
                <a:cs typeface="Calibri"/>
              </a:rPr>
              <a:t>Gains</a:t>
            </a:r>
            <a:endParaRPr lang="pt-BR" sz="2400" dirty="0">
              <a:solidFill>
                <a:schemeClr val="bg2">
                  <a:lumMod val="75000"/>
                </a:schemeClr>
              </a:solidFill>
              <a:latin typeface="Century Gothic" panose="020B0502020202020204" pitchFamily="34" charset="0"/>
              <a:cs typeface="Calibri"/>
            </a:endParaRPr>
          </a:p>
        </p:txBody>
      </p:sp>
      <p:pic>
        <p:nvPicPr>
          <p:cNvPr id="42" name="Picture 19" descr="C:\Users\Michelle\Pictures\Saved Pictures\Saved Pictures\Logo EN escrito verde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5316"/>
          <a:stretch/>
        </p:blipFill>
        <p:spPr bwMode="auto">
          <a:xfrm>
            <a:off x="8557053" y="4795047"/>
            <a:ext cx="447248" cy="233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3" name="Grupo 40">
            <a:extLst>
              <a:ext uri="{FF2B5EF4-FFF2-40B4-BE49-F238E27FC236}">
                <a16:creationId xmlns:a16="http://schemas.microsoft.com/office/drawing/2014/main" id="{57B20658-C91A-4DF2-B79F-A6491CF54343}"/>
              </a:ext>
            </a:extLst>
          </p:cNvPr>
          <p:cNvGrpSpPr/>
          <p:nvPr/>
        </p:nvGrpSpPr>
        <p:grpSpPr>
          <a:xfrm>
            <a:off x="3091207" y="565099"/>
            <a:ext cx="5705676" cy="1617492"/>
            <a:chOff x="762377" y="2639072"/>
            <a:chExt cx="9167804" cy="2598963"/>
          </a:xfrm>
        </p:grpSpPr>
        <p:sp>
          <p:nvSpPr>
            <p:cNvPr id="34" name="object 15">
              <a:extLst>
                <a:ext uri="{FF2B5EF4-FFF2-40B4-BE49-F238E27FC236}">
                  <a16:creationId xmlns:a16="http://schemas.microsoft.com/office/drawing/2014/main" id="{F803A6C4-0A67-4948-9C37-DE047338C50C}"/>
                </a:ext>
              </a:extLst>
            </p:cNvPr>
            <p:cNvSpPr txBox="1"/>
            <p:nvPr/>
          </p:nvSpPr>
          <p:spPr>
            <a:xfrm>
              <a:off x="835590" y="3412972"/>
              <a:ext cx="1822919" cy="59343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algn="ctr"/>
              <a:r>
                <a:rPr lang="pt-BR" sz="1200" b="1" dirty="0">
                  <a:solidFill>
                    <a:srgbClr val="54C09E"/>
                  </a:solidFill>
                  <a:latin typeface="Century Gothic" panose="020B0502020202020204" pitchFamily="34" charset="0"/>
                  <a:cs typeface="Palatino Linotype"/>
                </a:rPr>
                <a:t>WE OPTIMIZE</a:t>
              </a:r>
            </a:p>
            <a:p>
              <a:pPr marL="12700" algn="ctr">
                <a:lnSpc>
                  <a:spcPct val="100000"/>
                </a:lnSpc>
              </a:pPr>
              <a:endParaRPr sz="1200" dirty="0">
                <a:latin typeface="Century Gothic" panose="020B0502020202020204" pitchFamily="34" charset="0"/>
                <a:cs typeface="Palatino Linotype"/>
              </a:endParaRPr>
            </a:p>
          </p:txBody>
        </p:sp>
        <p:sp>
          <p:nvSpPr>
            <p:cNvPr id="35" name="object 16">
              <a:extLst>
                <a:ext uri="{FF2B5EF4-FFF2-40B4-BE49-F238E27FC236}">
                  <a16:creationId xmlns:a16="http://schemas.microsoft.com/office/drawing/2014/main" id="{79A26EF6-7D81-4F46-AF82-52A413ABC6C3}"/>
                </a:ext>
              </a:extLst>
            </p:cNvPr>
            <p:cNvSpPr txBox="1"/>
            <p:nvPr/>
          </p:nvSpPr>
          <p:spPr>
            <a:xfrm>
              <a:off x="1354950" y="3724771"/>
              <a:ext cx="784224" cy="25962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algn="ctr"/>
              <a:r>
                <a:rPr lang="pt-BR" sz="1050" dirty="0" err="1">
                  <a:latin typeface="Century Gothic"/>
                  <a:cs typeface="Century Gothic"/>
                </a:rPr>
                <a:t>up</a:t>
              </a:r>
              <a:r>
                <a:rPr lang="pt-BR" sz="1050" dirty="0">
                  <a:latin typeface="Century Gothic"/>
                  <a:cs typeface="Century Gothic"/>
                </a:rPr>
                <a:t> </a:t>
              </a:r>
              <a:r>
                <a:rPr lang="pt-BR" sz="1050" dirty="0" err="1">
                  <a:latin typeface="Century Gothic"/>
                  <a:cs typeface="Century Gothic"/>
                </a:rPr>
                <a:t>to</a:t>
              </a:r>
              <a:endParaRPr lang="pt-BR" sz="1050" dirty="0">
                <a:latin typeface="Century Gothic"/>
                <a:cs typeface="Century Gothic"/>
              </a:endParaRPr>
            </a:p>
          </p:txBody>
        </p:sp>
        <p:sp>
          <p:nvSpPr>
            <p:cNvPr id="36" name="object 17">
              <a:extLst>
                <a:ext uri="{FF2B5EF4-FFF2-40B4-BE49-F238E27FC236}">
                  <a16:creationId xmlns:a16="http://schemas.microsoft.com/office/drawing/2014/main" id="{D3611643-5484-47B2-93D6-C814CE16E80E}"/>
                </a:ext>
              </a:extLst>
            </p:cNvPr>
            <p:cNvSpPr txBox="1"/>
            <p:nvPr/>
          </p:nvSpPr>
          <p:spPr>
            <a:xfrm>
              <a:off x="3233702" y="3412972"/>
              <a:ext cx="1825903" cy="29671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algn="ctr"/>
              <a:r>
                <a:rPr lang="pt-BR" sz="1200" b="1" dirty="0">
                  <a:solidFill>
                    <a:srgbClr val="54C09E"/>
                  </a:solidFill>
                  <a:latin typeface="Century Gothic" panose="020B0502020202020204" pitchFamily="34" charset="0"/>
                  <a:cs typeface="Palatino Linotype"/>
                </a:rPr>
                <a:t>WE DECREASE</a:t>
              </a:r>
            </a:p>
          </p:txBody>
        </p:sp>
        <p:sp>
          <p:nvSpPr>
            <p:cNvPr id="37" name="object 18">
              <a:extLst>
                <a:ext uri="{FF2B5EF4-FFF2-40B4-BE49-F238E27FC236}">
                  <a16:creationId xmlns:a16="http://schemas.microsoft.com/office/drawing/2014/main" id="{46AA3380-A570-4D14-B691-32D4F9A5B301}"/>
                </a:ext>
              </a:extLst>
            </p:cNvPr>
            <p:cNvSpPr txBox="1"/>
            <p:nvPr/>
          </p:nvSpPr>
          <p:spPr>
            <a:xfrm>
              <a:off x="3754196" y="3724771"/>
              <a:ext cx="784224" cy="25962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algn="ctr"/>
              <a:r>
                <a:rPr lang="pt-BR" sz="1050" dirty="0" err="1">
                  <a:latin typeface="Century Gothic"/>
                  <a:cs typeface="Century Gothic"/>
                </a:rPr>
                <a:t>up</a:t>
              </a:r>
              <a:r>
                <a:rPr lang="pt-BR" sz="1050" dirty="0">
                  <a:latin typeface="Century Gothic"/>
                  <a:cs typeface="Century Gothic"/>
                </a:rPr>
                <a:t> </a:t>
              </a:r>
              <a:r>
                <a:rPr lang="pt-BR" sz="1050" dirty="0" err="1">
                  <a:latin typeface="Century Gothic"/>
                  <a:cs typeface="Century Gothic"/>
                </a:rPr>
                <a:t>to</a:t>
              </a:r>
              <a:endParaRPr lang="pt-BR" sz="1050" dirty="0">
                <a:latin typeface="Century Gothic"/>
                <a:cs typeface="Century Gothic"/>
              </a:endParaRPr>
            </a:p>
          </p:txBody>
        </p:sp>
        <p:sp>
          <p:nvSpPr>
            <p:cNvPr id="38" name="object 19">
              <a:extLst>
                <a:ext uri="{FF2B5EF4-FFF2-40B4-BE49-F238E27FC236}">
                  <a16:creationId xmlns:a16="http://schemas.microsoft.com/office/drawing/2014/main" id="{D7269221-CACE-43B7-8AB9-5072F40208D7}"/>
                </a:ext>
              </a:extLst>
            </p:cNvPr>
            <p:cNvSpPr txBox="1"/>
            <p:nvPr/>
          </p:nvSpPr>
          <p:spPr>
            <a:xfrm>
              <a:off x="5623381" y="3412972"/>
              <a:ext cx="1845060" cy="59343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algn="ctr"/>
              <a:r>
                <a:rPr lang="pt-BR" sz="1200" b="1" dirty="0">
                  <a:solidFill>
                    <a:srgbClr val="54C09E"/>
                  </a:solidFill>
                  <a:latin typeface="Century Gothic" panose="020B0502020202020204" pitchFamily="34" charset="0"/>
                  <a:cs typeface="Palatino Linotype"/>
                </a:rPr>
                <a:t>WE DECREASE</a:t>
              </a:r>
            </a:p>
            <a:p>
              <a:pPr marL="12700" algn="ctr">
                <a:lnSpc>
                  <a:spcPct val="100000"/>
                </a:lnSpc>
              </a:pPr>
              <a:endParaRPr sz="1200" dirty="0">
                <a:latin typeface="Century Gothic" panose="020B0502020202020204" pitchFamily="34" charset="0"/>
                <a:cs typeface="Palatino Linotype"/>
              </a:endParaRPr>
            </a:p>
          </p:txBody>
        </p:sp>
        <p:sp>
          <p:nvSpPr>
            <p:cNvPr id="70" name="object 20">
              <a:extLst>
                <a:ext uri="{FF2B5EF4-FFF2-40B4-BE49-F238E27FC236}">
                  <a16:creationId xmlns:a16="http://schemas.microsoft.com/office/drawing/2014/main" id="{0BAC9C93-12DF-43F6-9590-78CC45453168}"/>
                </a:ext>
              </a:extLst>
            </p:cNvPr>
            <p:cNvSpPr txBox="1"/>
            <p:nvPr/>
          </p:nvSpPr>
          <p:spPr>
            <a:xfrm>
              <a:off x="6153455" y="3724771"/>
              <a:ext cx="784224" cy="25962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algn="ctr"/>
              <a:r>
                <a:rPr lang="pt-BR" sz="1050" dirty="0" err="1">
                  <a:latin typeface="Century Gothic"/>
                  <a:cs typeface="Century Gothic"/>
                </a:rPr>
                <a:t>up</a:t>
              </a:r>
              <a:r>
                <a:rPr lang="pt-BR" sz="1050" dirty="0">
                  <a:latin typeface="Century Gothic"/>
                  <a:cs typeface="Century Gothic"/>
                </a:rPr>
                <a:t> </a:t>
              </a:r>
              <a:r>
                <a:rPr lang="pt-BR" sz="1050" dirty="0" err="1">
                  <a:latin typeface="Century Gothic"/>
                  <a:cs typeface="Century Gothic"/>
                </a:rPr>
                <a:t>to</a:t>
              </a:r>
              <a:endParaRPr lang="pt-BR" sz="1050" dirty="0">
                <a:latin typeface="Century Gothic"/>
                <a:cs typeface="Century Gothic"/>
              </a:endParaRPr>
            </a:p>
          </p:txBody>
        </p:sp>
        <p:sp>
          <p:nvSpPr>
            <p:cNvPr id="71" name="object 21">
              <a:extLst>
                <a:ext uri="{FF2B5EF4-FFF2-40B4-BE49-F238E27FC236}">
                  <a16:creationId xmlns:a16="http://schemas.microsoft.com/office/drawing/2014/main" id="{84943AEE-2512-4A08-BD32-091CB67893D6}"/>
                </a:ext>
              </a:extLst>
            </p:cNvPr>
            <p:cNvSpPr txBox="1"/>
            <p:nvPr/>
          </p:nvSpPr>
          <p:spPr>
            <a:xfrm>
              <a:off x="8044014" y="3412972"/>
              <a:ext cx="1802283" cy="59343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algn="ctr"/>
              <a:r>
                <a:rPr lang="pt-BR" sz="1200" b="1" dirty="0">
                  <a:solidFill>
                    <a:srgbClr val="54C09E"/>
                  </a:solidFill>
                  <a:latin typeface="Century Gothic" panose="020B0502020202020204" pitchFamily="34" charset="0"/>
                  <a:cs typeface="Palatino Linotype"/>
                </a:rPr>
                <a:t>WE DECREASE</a:t>
              </a:r>
            </a:p>
            <a:p>
              <a:pPr marL="12700" algn="ctr">
                <a:lnSpc>
                  <a:spcPct val="100000"/>
                </a:lnSpc>
              </a:pPr>
              <a:endParaRPr sz="1200" dirty="0">
                <a:latin typeface="Century Gothic" panose="020B0502020202020204" pitchFamily="34" charset="0"/>
                <a:cs typeface="Palatino Linotype"/>
              </a:endParaRPr>
            </a:p>
          </p:txBody>
        </p:sp>
        <p:sp>
          <p:nvSpPr>
            <p:cNvPr id="72" name="object 22">
              <a:extLst>
                <a:ext uri="{FF2B5EF4-FFF2-40B4-BE49-F238E27FC236}">
                  <a16:creationId xmlns:a16="http://schemas.microsoft.com/office/drawing/2014/main" id="{605A9153-F80C-452D-B6FB-78A1D01F65AC}"/>
                </a:ext>
              </a:extLst>
            </p:cNvPr>
            <p:cNvSpPr txBox="1"/>
            <p:nvPr/>
          </p:nvSpPr>
          <p:spPr>
            <a:xfrm>
              <a:off x="8552700" y="3724771"/>
              <a:ext cx="784224" cy="25962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algn="ctr"/>
              <a:r>
                <a:rPr lang="pt-BR" sz="1050" dirty="0" err="1">
                  <a:latin typeface="Century Gothic"/>
                  <a:cs typeface="Century Gothic"/>
                </a:rPr>
                <a:t>up</a:t>
              </a:r>
              <a:r>
                <a:rPr lang="pt-BR" sz="1050" dirty="0">
                  <a:latin typeface="Century Gothic"/>
                  <a:cs typeface="Century Gothic"/>
                </a:rPr>
                <a:t> </a:t>
              </a:r>
              <a:r>
                <a:rPr lang="pt-BR" sz="1050" dirty="0" err="1">
                  <a:latin typeface="Century Gothic"/>
                  <a:cs typeface="Century Gothic"/>
                </a:rPr>
                <a:t>to</a:t>
              </a:r>
              <a:endParaRPr lang="pt-BR" sz="1050" dirty="0">
                <a:latin typeface="Century Gothic"/>
                <a:cs typeface="Century Gothic"/>
              </a:endParaRPr>
            </a:p>
          </p:txBody>
        </p:sp>
        <p:sp>
          <p:nvSpPr>
            <p:cNvPr id="73" name="object 23">
              <a:extLst>
                <a:ext uri="{FF2B5EF4-FFF2-40B4-BE49-F238E27FC236}">
                  <a16:creationId xmlns:a16="http://schemas.microsoft.com/office/drawing/2014/main" id="{584098AA-202E-4F66-B51E-5B58CBB7714F}"/>
                </a:ext>
              </a:extLst>
            </p:cNvPr>
            <p:cNvSpPr txBox="1"/>
            <p:nvPr/>
          </p:nvSpPr>
          <p:spPr>
            <a:xfrm>
              <a:off x="800835" y="4051160"/>
              <a:ext cx="1971039" cy="118687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/>
              <a:r>
                <a:rPr lang="en-US" sz="3200" b="1" spc="185" dirty="0">
                  <a:solidFill>
                    <a:srgbClr val="54C09E"/>
                  </a:solidFill>
                  <a:latin typeface="Century Gothic" panose="020B0502020202020204" pitchFamily="34" charset="0"/>
                  <a:cs typeface="Palatino Linotype"/>
                </a:rPr>
                <a:t>80</a:t>
              </a:r>
              <a:r>
                <a:rPr sz="3200" b="1" spc="185" dirty="0">
                  <a:solidFill>
                    <a:srgbClr val="54C09E"/>
                  </a:solidFill>
                  <a:latin typeface="Century Gothic" panose="020B0502020202020204" pitchFamily="34" charset="0"/>
                  <a:cs typeface="Palatino Linotype"/>
                </a:rPr>
                <a:t>%</a:t>
              </a:r>
              <a:endParaRPr sz="3200" dirty="0">
                <a:latin typeface="Century Gothic" panose="020B0502020202020204" pitchFamily="34" charset="0"/>
                <a:cs typeface="Palatino Linotype"/>
              </a:endParaRPr>
            </a:p>
            <a:p>
              <a:pPr algn="ctr"/>
              <a:r>
                <a:rPr lang="en-US" sz="800" b="1" spc="55" dirty="0">
                  <a:solidFill>
                    <a:srgbClr val="414042"/>
                  </a:solidFill>
                  <a:latin typeface="Century Gothic" panose="020B0502020202020204" pitchFamily="34" charset="0"/>
                  <a:cs typeface="Calibri"/>
                </a:rPr>
                <a:t>of the grain grading</a:t>
              </a:r>
            </a:p>
            <a:p>
              <a:pPr algn="ctr">
                <a:spcBef>
                  <a:spcPts val="15"/>
                </a:spcBef>
              </a:pPr>
              <a:endParaRPr sz="800" dirty="0">
                <a:latin typeface="Century Gothic" panose="020B0502020202020204" pitchFamily="34" charset="0"/>
                <a:cs typeface="Calibri"/>
              </a:endParaRPr>
            </a:p>
          </p:txBody>
        </p:sp>
        <p:sp>
          <p:nvSpPr>
            <p:cNvPr id="74" name="object 24">
              <a:extLst>
                <a:ext uri="{FF2B5EF4-FFF2-40B4-BE49-F238E27FC236}">
                  <a16:creationId xmlns:a16="http://schemas.microsoft.com/office/drawing/2014/main" id="{8448FAFD-9C3F-46C1-9435-E8024E761921}"/>
                </a:ext>
              </a:extLst>
            </p:cNvPr>
            <p:cNvSpPr txBox="1"/>
            <p:nvPr/>
          </p:nvSpPr>
          <p:spPr>
            <a:xfrm>
              <a:off x="3221934" y="4051160"/>
              <a:ext cx="1900554" cy="118687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/>
              <a:r>
                <a:rPr sz="3200" b="1" spc="35" dirty="0">
                  <a:solidFill>
                    <a:srgbClr val="54C09E"/>
                  </a:solidFill>
                  <a:latin typeface="Century Gothic" panose="020B0502020202020204" pitchFamily="34" charset="0"/>
                  <a:cs typeface="Palatino Linotype"/>
                </a:rPr>
                <a:t>70%</a:t>
              </a:r>
              <a:endParaRPr sz="3200" dirty="0">
                <a:latin typeface="Century Gothic" panose="020B0502020202020204" pitchFamily="34" charset="0"/>
                <a:cs typeface="Palatino Linotype"/>
              </a:endParaRPr>
            </a:p>
            <a:p>
              <a:pPr algn="ctr"/>
              <a:r>
                <a:rPr lang="en-US" sz="800" b="1" spc="55" dirty="0">
                  <a:solidFill>
                    <a:srgbClr val="414042"/>
                  </a:solidFill>
                  <a:latin typeface="Century Gothic" panose="020B0502020202020204" pitchFamily="34" charset="0"/>
                  <a:cs typeface="Calibri"/>
                </a:rPr>
                <a:t>of the release time </a:t>
              </a:r>
            </a:p>
            <a:p>
              <a:pPr algn="ctr"/>
              <a:r>
                <a:rPr lang="en-US" sz="800" b="1" spc="55" dirty="0">
                  <a:solidFill>
                    <a:srgbClr val="414042"/>
                  </a:solidFill>
                  <a:latin typeface="Century Gothic" panose="020B0502020202020204" pitchFamily="34" charset="0"/>
                  <a:cs typeface="Calibri"/>
                </a:rPr>
                <a:t>of seed lots</a:t>
              </a:r>
            </a:p>
          </p:txBody>
        </p:sp>
        <p:sp>
          <p:nvSpPr>
            <p:cNvPr id="75" name="object 25">
              <a:extLst>
                <a:ext uri="{FF2B5EF4-FFF2-40B4-BE49-F238E27FC236}">
                  <a16:creationId xmlns:a16="http://schemas.microsoft.com/office/drawing/2014/main" id="{FED5C4B1-8AE1-459F-A4CD-E585FFA56E4F}"/>
                </a:ext>
              </a:extLst>
            </p:cNvPr>
            <p:cNvSpPr txBox="1"/>
            <p:nvPr/>
          </p:nvSpPr>
          <p:spPr>
            <a:xfrm>
              <a:off x="5759978" y="4051160"/>
              <a:ext cx="1623060" cy="118687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/>
              <a:r>
                <a:rPr sz="3200" b="1" spc="35" dirty="0">
                  <a:solidFill>
                    <a:srgbClr val="54C09E"/>
                  </a:solidFill>
                  <a:latin typeface="Century Gothic" panose="020B0502020202020204" pitchFamily="34" charset="0"/>
                  <a:cs typeface="Palatino Linotype"/>
                </a:rPr>
                <a:t>50%</a:t>
              </a:r>
              <a:endParaRPr sz="3200" dirty="0">
                <a:latin typeface="Century Gothic" panose="020B0502020202020204" pitchFamily="34" charset="0"/>
                <a:cs typeface="Palatino Linotype"/>
              </a:endParaRPr>
            </a:p>
            <a:p>
              <a:pPr algn="ctr"/>
              <a:r>
                <a:rPr lang="pt-BR" sz="800" b="1" spc="-5" dirty="0" err="1">
                  <a:solidFill>
                    <a:srgbClr val="414042"/>
                  </a:solidFill>
                  <a:latin typeface="Century Gothic" panose="020B0502020202020204" pitchFamily="34" charset="0"/>
                  <a:cs typeface="Calibri"/>
                </a:rPr>
                <a:t>Of</a:t>
              </a:r>
              <a:r>
                <a:rPr lang="pt-BR" sz="800" b="1" spc="-5" dirty="0">
                  <a:solidFill>
                    <a:srgbClr val="414042"/>
                  </a:solidFill>
                  <a:latin typeface="Century Gothic" panose="020B0502020202020204" pitchFamily="34" charset="0"/>
                  <a:cs typeface="Calibri"/>
                </a:rPr>
                <a:t> </a:t>
              </a:r>
              <a:r>
                <a:rPr lang="pt-BR" sz="800" b="1" spc="-5" dirty="0" err="1">
                  <a:solidFill>
                    <a:srgbClr val="414042"/>
                  </a:solidFill>
                  <a:latin typeface="Century Gothic" panose="020B0502020202020204" pitchFamily="34" charset="0"/>
                  <a:cs typeface="Calibri"/>
                </a:rPr>
                <a:t>the</a:t>
              </a:r>
              <a:r>
                <a:rPr lang="pt-BR" sz="800" b="1" spc="-5" dirty="0">
                  <a:solidFill>
                    <a:srgbClr val="414042"/>
                  </a:solidFill>
                  <a:latin typeface="Century Gothic" panose="020B0502020202020204" pitchFamily="34" charset="0"/>
                  <a:cs typeface="Calibri"/>
                </a:rPr>
                <a:t> </a:t>
              </a:r>
              <a:r>
                <a:rPr lang="pt-BR" sz="800" b="1" spc="-5" dirty="0" err="1">
                  <a:solidFill>
                    <a:srgbClr val="414042"/>
                  </a:solidFill>
                  <a:latin typeface="Century Gothic" panose="020B0502020202020204" pitchFamily="34" charset="0"/>
                  <a:cs typeface="Calibri"/>
                </a:rPr>
                <a:t>hand</a:t>
              </a:r>
              <a:r>
                <a:rPr lang="pt-BR" sz="800" b="1" spc="-5" dirty="0">
                  <a:solidFill>
                    <a:srgbClr val="414042"/>
                  </a:solidFill>
                  <a:latin typeface="Century Gothic" panose="020B0502020202020204" pitchFamily="34" charset="0"/>
                  <a:cs typeface="Calibri"/>
                </a:rPr>
                <a:t>-labor </a:t>
              </a:r>
              <a:r>
                <a:rPr lang="pt-BR" sz="800" b="1" spc="-5" dirty="0" err="1">
                  <a:solidFill>
                    <a:srgbClr val="414042"/>
                  </a:solidFill>
                  <a:latin typeface="Century Gothic" panose="020B0502020202020204" pitchFamily="34" charset="0"/>
                  <a:cs typeface="Calibri"/>
                </a:rPr>
                <a:t>needed</a:t>
              </a:r>
              <a:endParaRPr lang="pt-BR" sz="800" b="1" spc="-5" dirty="0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endParaRPr>
            </a:p>
          </p:txBody>
        </p:sp>
        <p:sp>
          <p:nvSpPr>
            <p:cNvPr id="76" name="object 26">
              <a:extLst>
                <a:ext uri="{FF2B5EF4-FFF2-40B4-BE49-F238E27FC236}">
                  <a16:creationId xmlns:a16="http://schemas.microsoft.com/office/drawing/2014/main" id="{BE91C132-70FB-42E9-9A49-62FBEB2F902D}"/>
                </a:ext>
              </a:extLst>
            </p:cNvPr>
            <p:cNvSpPr txBox="1"/>
            <p:nvPr/>
          </p:nvSpPr>
          <p:spPr>
            <a:xfrm>
              <a:off x="8043670" y="4051160"/>
              <a:ext cx="1871346" cy="118687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/>
              <a:r>
                <a:rPr sz="3200" b="1" spc="35" dirty="0">
                  <a:solidFill>
                    <a:srgbClr val="54C09E"/>
                  </a:solidFill>
                  <a:latin typeface="Century Gothic" panose="020B0502020202020204" pitchFamily="34" charset="0"/>
                  <a:cs typeface="Palatino Linotype"/>
                </a:rPr>
                <a:t>20%</a:t>
              </a:r>
              <a:endParaRPr sz="3200" dirty="0">
                <a:latin typeface="Century Gothic" panose="020B0502020202020204" pitchFamily="34" charset="0"/>
                <a:cs typeface="Palatino Linotype"/>
              </a:endParaRPr>
            </a:p>
            <a:p>
              <a:pPr algn="ctr"/>
              <a:r>
                <a:rPr lang="en-US" sz="800" b="1" spc="55" dirty="0">
                  <a:solidFill>
                    <a:srgbClr val="414042"/>
                  </a:solidFill>
                  <a:latin typeface="Century Gothic" panose="020B0502020202020204" pitchFamily="34" charset="0"/>
                  <a:cs typeface="Calibri"/>
                </a:rPr>
                <a:t>of the processed and returned lots</a:t>
              </a:r>
            </a:p>
          </p:txBody>
        </p:sp>
        <p:sp>
          <p:nvSpPr>
            <p:cNvPr id="77" name="object 27">
              <a:extLst>
                <a:ext uri="{FF2B5EF4-FFF2-40B4-BE49-F238E27FC236}">
                  <a16:creationId xmlns:a16="http://schemas.microsoft.com/office/drawing/2014/main" id="{4B6CDCA9-6B93-407E-9B12-3A0E1C4D5574}"/>
                </a:ext>
              </a:extLst>
            </p:cNvPr>
            <p:cNvSpPr/>
            <p:nvPr/>
          </p:nvSpPr>
          <p:spPr>
            <a:xfrm>
              <a:off x="2222880" y="3935336"/>
              <a:ext cx="509270" cy="0"/>
            </a:xfrm>
            <a:custGeom>
              <a:avLst/>
              <a:gdLst/>
              <a:ahLst/>
              <a:cxnLst/>
              <a:rect l="l" t="t" r="r" b="b"/>
              <a:pathLst>
                <a:path w="509269">
                  <a:moveTo>
                    <a:pt x="0" y="0"/>
                  </a:moveTo>
                  <a:lnTo>
                    <a:pt x="508711" y="0"/>
                  </a:lnTo>
                </a:path>
              </a:pathLst>
            </a:custGeom>
            <a:ln w="13677">
              <a:solidFill>
                <a:srgbClr val="54C09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8" name="object 28">
              <a:extLst>
                <a:ext uri="{FF2B5EF4-FFF2-40B4-BE49-F238E27FC236}">
                  <a16:creationId xmlns:a16="http://schemas.microsoft.com/office/drawing/2014/main" id="{DC9C2892-761E-481B-9ED5-88A036E5B296}"/>
                </a:ext>
              </a:extLst>
            </p:cNvPr>
            <p:cNvSpPr/>
            <p:nvPr/>
          </p:nvSpPr>
          <p:spPr>
            <a:xfrm>
              <a:off x="4622228" y="3935336"/>
              <a:ext cx="509270" cy="0"/>
            </a:xfrm>
            <a:custGeom>
              <a:avLst/>
              <a:gdLst/>
              <a:ahLst/>
              <a:cxnLst/>
              <a:rect l="l" t="t" r="r" b="b"/>
              <a:pathLst>
                <a:path w="509270">
                  <a:moveTo>
                    <a:pt x="0" y="0"/>
                  </a:moveTo>
                  <a:lnTo>
                    <a:pt x="508711" y="0"/>
                  </a:lnTo>
                </a:path>
              </a:pathLst>
            </a:custGeom>
            <a:ln w="13677">
              <a:solidFill>
                <a:srgbClr val="54C09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9" name="object 29">
              <a:extLst>
                <a:ext uri="{FF2B5EF4-FFF2-40B4-BE49-F238E27FC236}">
                  <a16:creationId xmlns:a16="http://schemas.microsoft.com/office/drawing/2014/main" id="{2A0455F0-7D74-4161-808B-ABD1B4D2E435}"/>
                </a:ext>
              </a:extLst>
            </p:cNvPr>
            <p:cNvSpPr/>
            <p:nvPr/>
          </p:nvSpPr>
          <p:spPr>
            <a:xfrm>
              <a:off x="7021563" y="3935336"/>
              <a:ext cx="509270" cy="0"/>
            </a:xfrm>
            <a:custGeom>
              <a:avLst/>
              <a:gdLst/>
              <a:ahLst/>
              <a:cxnLst/>
              <a:rect l="l" t="t" r="r" b="b"/>
              <a:pathLst>
                <a:path w="509270">
                  <a:moveTo>
                    <a:pt x="0" y="0"/>
                  </a:moveTo>
                  <a:lnTo>
                    <a:pt x="508711" y="0"/>
                  </a:lnTo>
                </a:path>
              </a:pathLst>
            </a:custGeom>
            <a:ln w="13677">
              <a:solidFill>
                <a:srgbClr val="54C09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0" name="object 30">
              <a:extLst>
                <a:ext uri="{FF2B5EF4-FFF2-40B4-BE49-F238E27FC236}">
                  <a16:creationId xmlns:a16="http://schemas.microsoft.com/office/drawing/2014/main" id="{2194D47E-91B4-41FE-BC8A-F5C1ED730320}"/>
                </a:ext>
              </a:extLst>
            </p:cNvPr>
            <p:cNvSpPr/>
            <p:nvPr/>
          </p:nvSpPr>
          <p:spPr>
            <a:xfrm>
              <a:off x="9420911" y="3935336"/>
              <a:ext cx="509270" cy="0"/>
            </a:xfrm>
            <a:custGeom>
              <a:avLst/>
              <a:gdLst/>
              <a:ahLst/>
              <a:cxnLst/>
              <a:rect l="l" t="t" r="r" b="b"/>
              <a:pathLst>
                <a:path w="509270">
                  <a:moveTo>
                    <a:pt x="0" y="0"/>
                  </a:moveTo>
                  <a:lnTo>
                    <a:pt x="508711" y="0"/>
                  </a:lnTo>
                </a:path>
              </a:pathLst>
            </a:custGeom>
            <a:ln w="13677">
              <a:solidFill>
                <a:srgbClr val="54C09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1" name="object 31">
              <a:extLst>
                <a:ext uri="{FF2B5EF4-FFF2-40B4-BE49-F238E27FC236}">
                  <a16:creationId xmlns:a16="http://schemas.microsoft.com/office/drawing/2014/main" id="{BB6B18E6-529B-474B-B480-F16D80A7FCC7}"/>
                </a:ext>
              </a:extLst>
            </p:cNvPr>
            <p:cNvSpPr/>
            <p:nvPr/>
          </p:nvSpPr>
          <p:spPr>
            <a:xfrm>
              <a:off x="762377" y="3935336"/>
              <a:ext cx="509270" cy="0"/>
            </a:xfrm>
            <a:custGeom>
              <a:avLst/>
              <a:gdLst/>
              <a:ahLst/>
              <a:cxnLst/>
              <a:rect l="l" t="t" r="r" b="b"/>
              <a:pathLst>
                <a:path w="509269">
                  <a:moveTo>
                    <a:pt x="0" y="0"/>
                  </a:moveTo>
                  <a:lnTo>
                    <a:pt x="508711" y="0"/>
                  </a:lnTo>
                </a:path>
              </a:pathLst>
            </a:custGeom>
            <a:ln w="13677">
              <a:solidFill>
                <a:srgbClr val="54C09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2" name="object 32">
              <a:extLst>
                <a:ext uri="{FF2B5EF4-FFF2-40B4-BE49-F238E27FC236}">
                  <a16:creationId xmlns:a16="http://schemas.microsoft.com/office/drawing/2014/main" id="{042A721A-628B-47D4-9535-DF4F1FD3D935}"/>
                </a:ext>
              </a:extLst>
            </p:cNvPr>
            <p:cNvSpPr/>
            <p:nvPr/>
          </p:nvSpPr>
          <p:spPr>
            <a:xfrm>
              <a:off x="3161715" y="3935336"/>
              <a:ext cx="509270" cy="0"/>
            </a:xfrm>
            <a:custGeom>
              <a:avLst/>
              <a:gdLst/>
              <a:ahLst/>
              <a:cxnLst/>
              <a:rect l="l" t="t" r="r" b="b"/>
              <a:pathLst>
                <a:path w="509270">
                  <a:moveTo>
                    <a:pt x="0" y="0"/>
                  </a:moveTo>
                  <a:lnTo>
                    <a:pt x="508711" y="0"/>
                  </a:lnTo>
                </a:path>
              </a:pathLst>
            </a:custGeom>
            <a:ln w="13677">
              <a:solidFill>
                <a:srgbClr val="54C09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3" name="object 33">
              <a:extLst>
                <a:ext uri="{FF2B5EF4-FFF2-40B4-BE49-F238E27FC236}">
                  <a16:creationId xmlns:a16="http://schemas.microsoft.com/office/drawing/2014/main" id="{EBE6C24E-A4E7-45E1-AB9A-81B75C07B0D7}"/>
                </a:ext>
              </a:extLst>
            </p:cNvPr>
            <p:cNvSpPr/>
            <p:nvPr/>
          </p:nvSpPr>
          <p:spPr>
            <a:xfrm>
              <a:off x="5561063" y="3935336"/>
              <a:ext cx="509270" cy="0"/>
            </a:xfrm>
            <a:custGeom>
              <a:avLst/>
              <a:gdLst/>
              <a:ahLst/>
              <a:cxnLst/>
              <a:rect l="l" t="t" r="r" b="b"/>
              <a:pathLst>
                <a:path w="509270">
                  <a:moveTo>
                    <a:pt x="0" y="0"/>
                  </a:moveTo>
                  <a:lnTo>
                    <a:pt x="508711" y="0"/>
                  </a:lnTo>
                </a:path>
              </a:pathLst>
            </a:custGeom>
            <a:ln w="13677">
              <a:solidFill>
                <a:srgbClr val="54C09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4" name="object 34">
              <a:extLst>
                <a:ext uri="{FF2B5EF4-FFF2-40B4-BE49-F238E27FC236}">
                  <a16:creationId xmlns:a16="http://schemas.microsoft.com/office/drawing/2014/main" id="{221867DF-A92F-4EB9-A0C5-7217321A8861}"/>
                </a:ext>
              </a:extLst>
            </p:cNvPr>
            <p:cNvSpPr/>
            <p:nvPr/>
          </p:nvSpPr>
          <p:spPr>
            <a:xfrm>
              <a:off x="7960397" y="3935336"/>
              <a:ext cx="509270" cy="0"/>
            </a:xfrm>
            <a:custGeom>
              <a:avLst/>
              <a:gdLst/>
              <a:ahLst/>
              <a:cxnLst/>
              <a:rect l="l" t="t" r="r" b="b"/>
              <a:pathLst>
                <a:path w="509270">
                  <a:moveTo>
                    <a:pt x="0" y="0"/>
                  </a:moveTo>
                  <a:lnTo>
                    <a:pt x="508711" y="0"/>
                  </a:lnTo>
                </a:path>
              </a:pathLst>
            </a:custGeom>
            <a:ln w="13677">
              <a:solidFill>
                <a:srgbClr val="54C09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5" name="object 37">
              <a:extLst>
                <a:ext uri="{FF2B5EF4-FFF2-40B4-BE49-F238E27FC236}">
                  <a16:creationId xmlns:a16="http://schemas.microsoft.com/office/drawing/2014/main" id="{DAC9F9B4-9109-4A05-AF23-7C3DD40F9BF7}"/>
                </a:ext>
              </a:extLst>
            </p:cNvPr>
            <p:cNvSpPr/>
            <p:nvPr/>
          </p:nvSpPr>
          <p:spPr>
            <a:xfrm>
              <a:off x="1464538" y="2639072"/>
              <a:ext cx="565150" cy="565150"/>
            </a:xfrm>
            <a:custGeom>
              <a:avLst/>
              <a:gdLst/>
              <a:ahLst/>
              <a:cxnLst/>
              <a:rect l="l" t="t" r="r" b="b"/>
              <a:pathLst>
                <a:path w="565150" h="565150">
                  <a:moveTo>
                    <a:pt x="282447" y="0"/>
                  </a:moveTo>
                  <a:lnTo>
                    <a:pt x="236632" y="3696"/>
                  </a:lnTo>
                  <a:lnTo>
                    <a:pt x="193171" y="14399"/>
                  </a:lnTo>
                  <a:lnTo>
                    <a:pt x="152645" y="31525"/>
                  </a:lnTo>
                  <a:lnTo>
                    <a:pt x="115636" y="54495"/>
                  </a:lnTo>
                  <a:lnTo>
                    <a:pt x="82726" y="82726"/>
                  </a:lnTo>
                  <a:lnTo>
                    <a:pt x="54495" y="115636"/>
                  </a:lnTo>
                  <a:lnTo>
                    <a:pt x="31525" y="152645"/>
                  </a:lnTo>
                  <a:lnTo>
                    <a:pt x="14399" y="193171"/>
                  </a:lnTo>
                  <a:lnTo>
                    <a:pt x="3696" y="236632"/>
                  </a:lnTo>
                  <a:lnTo>
                    <a:pt x="0" y="282448"/>
                  </a:lnTo>
                  <a:lnTo>
                    <a:pt x="3696" y="328263"/>
                  </a:lnTo>
                  <a:lnTo>
                    <a:pt x="14399" y="371724"/>
                  </a:lnTo>
                  <a:lnTo>
                    <a:pt x="31525" y="412250"/>
                  </a:lnTo>
                  <a:lnTo>
                    <a:pt x="54495" y="449259"/>
                  </a:lnTo>
                  <a:lnTo>
                    <a:pt x="82726" y="482169"/>
                  </a:lnTo>
                  <a:lnTo>
                    <a:pt x="115636" y="510400"/>
                  </a:lnTo>
                  <a:lnTo>
                    <a:pt x="152645" y="533370"/>
                  </a:lnTo>
                  <a:lnTo>
                    <a:pt x="193171" y="550496"/>
                  </a:lnTo>
                  <a:lnTo>
                    <a:pt x="236632" y="561199"/>
                  </a:lnTo>
                  <a:lnTo>
                    <a:pt x="282447" y="564896"/>
                  </a:lnTo>
                  <a:lnTo>
                    <a:pt x="328263" y="561199"/>
                  </a:lnTo>
                  <a:lnTo>
                    <a:pt x="371724" y="550496"/>
                  </a:lnTo>
                  <a:lnTo>
                    <a:pt x="412250" y="533370"/>
                  </a:lnTo>
                  <a:lnTo>
                    <a:pt x="449259" y="510400"/>
                  </a:lnTo>
                  <a:lnTo>
                    <a:pt x="482169" y="482169"/>
                  </a:lnTo>
                  <a:lnTo>
                    <a:pt x="510400" y="449259"/>
                  </a:lnTo>
                  <a:lnTo>
                    <a:pt x="533370" y="412250"/>
                  </a:lnTo>
                  <a:lnTo>
                    <a:pt x="550496" y="371724"/>
                  </a:lnTo>
                  <a:lnTo>
                    <a:pt x="561199" y="328263"/>
                  </a:lnTo>
                  <a:lnTo>
                    <a:pt x="564895" y="282448"/>
                  </a:lnTo>
                  <a:lnTo>
                    <a:pt x="561199" y="236632"/>
                  </a:lnTo>
                  <a:lnTo>
                    <a:pt x="550496" y="193171"/>
                  </a:lnTo>
                  <a:lnTo>
                    <a:pt x="533370" y="152645"/>
                  </a:lnTo>
                  <a:lnTo>
                    <a:pt x="510400" y="115636"/>
                  </a:lnTo>
                  <a:lnTo>
                    <a:pt x="482169" y="82726"/>
                  </a:lnTo>
                  <a:lnTo>
                    <a:pt x="449259" y="54495"/>
                  </a:lnTo>
                  <a:lnTo>
                    <a:pt x="412250" y="31525"/>
                  </a:lnTo>
                  <a:lnTo>
                    <a:pt x="371724" y="14399"/>
                  </a:lnTo>
                  <a:lnTo>
                    <a:pt x="328263" y="3696"/>
                  </a:lnTo>
                  <a:lnTo>
                    <a:pt x="282447" y="0"/>
                  </a:lnTo>
                  <a:close/>
                </a:path>
              </a:pathLst>
            </a:custGeom>
            <a:solidFill>
              <a:srgbClr val="4140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6" name="object 38">
              <a:extLst>
                <a:ext uri="{FF2B5EF4-FFF2-40B4-BE49-F238E27FC236}">
                  <a16:creationId xmlns:a16="http://schemas.microsoft.com/office/drawing/2014/main" id="{F0881201-0020-4785-872A-8C398579A3B0}"/>
                </a:ext>
              </a:extLst>
            </p:cNvPr>
            <p:cNvSpPr/>
            <p:nvPr/>
          </p:nvSpPr>
          <p:spPr>
            <a:xfrm>
              <a:off x="1492135" y="2666657"/>
              <a:ext cx="509905" cy="509905"/>
            </a:xfrm>
            <a:custGeom>
              <a:avLst/>
              <a:gdLst/>
              <a:ahLst/>
              <a:cxnLst/>
              <a:rect l="l" t="t" r="r" b="b"/>
              <a:pathLst>
                <a:path w="509905" h="509905">
                  <a:moveTo>
                    <a:pt x="254850" y="0"/>
                  </a:moveTo>
                  <a:lnTo>
                    <a:pt x="209040" y="4106"/>
                  </a:lnTo>
                  <a:lnTo>
                    <a:pt x="165923" y="15945"/>
                  </a:lnTo>
                  <a:lnTo>
                    <a:pt x="126221" y="34797"/>
                  </a:lnTo>
                  <a:lnTo>
                    <a:pt x="90652" y="59941"/>
                  </a:lnTo>
                  <a:lnTo>
                    <a:pt x="59936" y="90659"/>
                  </a:lnTo>
                  <a:lnTo>
                    <a:pt x="34793" y="126230"/>
                  </a:lnTo>
                  <a:lnTo>
                    <a:pt x="15943" y="165934"/>
                  </a:lnTo>
                  <a:lnTo>
                    <a:pt x="4105" y="209052"/>
                  </a:lnTo>
                  <a:lnTo>
                    <a:pt x="0" y="254863"/>
                  </a:lnTo>
                  <a:lnTo>
                    <a:pt x="4105" y="300674"/>
                  </a:lnTo>
                  <a:lnTo>
                    <a:pt x="15943" y="343792"/>
                  </a:lnTo>
                  <a:lnTo>
                    <a:pt x="34793" y="383496"/>
                  </a:lnTo>
                  <a:lnTo>
                    <a:pt x="59936" y="419067"/>
                  </a:lnTo>
                  <a:lnTo>
                    <a:pt x="90652" y="449785"/>
                  </a:lnTo>
                  <a:lnTo>
                    <a:pt x="126221" y="474930"/>
                  </a:lnTo>
                  <a:lnTo>
                    <a:pt x="165923" y="493781"/>
                  </a:lnTo>
                  <a:lnTo>
                    <a:pt x="209040" y="505620"/>
                  </a:lnTo>
                  <a:lnTo>
                    <a:pt x="254850" y="509727"/>
                  </a:lnTo>
                  <a:lnTo>
                    <a:pt x="300662" y="505620"/>
                  </a:lnTo>
                  <a:lnTo>
                    <a:pt x="343779" y="493781"/>
                  </a:lnTo>
                  <a:lnTo>
                    <a:pt x="383484" y="474930"/>
                  </a:lnTo>
                  <a:lnTo>
                    <a:pt x="419054" y="449785"/>
                  </a:lnTo>
                  <a:lnTo>
                    <a:pt x="449772" y="419067"/>
                  </a:lnTo>
                  <a:lnTo>
                    <a:pt x="474917" y="383496"/>
                  </a:lnTo>
                  <a:lnTo>
                    <a:pt x="493769" y="343792"/>
                  </a:lnTo>
                  <a:lnTo>
                    <a:pt x="505608" y="300674"/>
                  </a:lnTo>
                  <a:lnTo>
                    <a:pt x="509714" y="254863"/>
                  </a:lnTo>
                  <a:lnTo>
                    <a:pt x="505608" y="209052"/>
                  </a:lnTo>
                  <a:lnTo>
                    <a:pt x="493769" y="165934"/>
                  </a:lnTo>
                  <a:lnTo>
                    <a:pt x="474917" y="126230"/>
                  </a:lnTo>
                  <a:lnTo>
                    <a:pt x="449772" y="90659"/>
                  </a:lnTo>
                  <a:lnTo>
                    <a:pt x="419054" y="59941"/>
                  </a:lnTo>
                  <a:lnTo>
                    <a:pt x="383484" y="34797"/>
                  </a:lnTo>
                  <a:lnTo>
                    <a:pt x="343779" y="15945"/>
                  </a:lnTo>
                  <a:lnTo>
                    <a:pt x="300662" y="4106"/>
                  </a:lnTo>
                  <a:lnTo>
                    <a:pt x="254850" y="0"/>
                  </a:lnTo>
                  <a:close/>
                </a:path>
              </a:pathLst>
            </a:custGeom>
            <a:solidFill>
              <a:srgbClr val="F9B63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7" name="object 39">
              <a:extLst>
                <a:ext uri="{FF2B5EF4-FFF2-40B4-BE49-F238E27FC236}">
                  <a16:creationId xmlns:a16="http://schemas.microsoft.com/office/drawing/2014/main" id="{BCAF6564-8A6B-48C5-9965-2A6EFC321624}"/>
                </a:ext>
              </a:extLst>
            </p:cNvPr>
            <p:cNvSpPr/>
            <p:nvPr/>
          </p:nvSpPr>
          <p:spPr>
            <a:xfrm>
              <a:off x="1588820" y="2756128"/>
              <a:ext cx="316865" cy="300990"/>
            </a:xfrm>
            <a:custGeom>
              <a:avLst/>
              <a:gdLst/>
              <a:ahLst/>
              <a:cxnLst/>
              <a:rect l="l" t="t" r="r" b="b"/>
              <a:pathLst>
                <a:path w="316864" h="300989">
                  <a:moveTo>
                    <a:pt x="158165" y="0"/>
                  </a:moveTo>
                  <a:lnTo>
                    <a:pt x="109283" y="99034"/>
                  </a:lnTo>
                  <a:lnTo>
                    <a:pt x="0" y="114922"/>
                  </a:lnTo>
                  <a:lnTo>
                    <a:pt x="79082" y="192011"/>
                  </a:lnTo>
                  <a:lnTo>
                    <a:pt x="60413" y="300863"/>
                  </a:lnTo>
                  <a:lnTo>
                    <a:pt x="158165" y="249466"/>
                  </a:lnTo>
                  <a:lnTo>
                    <a:pt x="247102" y="249466"/>
                  </a:lnTo>
                  <a:lnTo>
                    <a:pt x="237248" y="192011"/>
                  </a:lnTo>
                  <a:lnTo>
                    <a:pt x="316331" y="114922"/>
                  </a:lnTo>
                  <a:lnTo>
                    <a:pt x="207048" y="99034"/>
                  </a:lnTo>
                  <a:lnTo>
                    <a:pt x="158165" y="0"/>
                  </a:lnTo>
                  <a:close/>
                </a:path>
                <a:path w="316864" h="300989">
                  <a:moveTo>
                    <a:pt x="247102" y="249466"/>
                  </a:moveTo>
                  <a:lnTo>
                    <a:pt x="158165" y="249466"/>
                  </a:lnTo>
                  <a:lnTo>
                    <a:pt x="255917" y="300863"/>
                  </a:lnTo>
                  <a:lnTo>
                    <a:pt x="247102" y="24946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8" name="object 40">
              <a:extLst>
                <a:ext uri="{FF2B5EF4-FFF2-40B4-BE49-F238E27FC236}">
                  <a16:creationId xmlns:a16="http://schemas.microsoft.com/office/drawing/2014/main" id="{C6BF7DED-92B2-4093-9EF2-EC2D6FDF3248}"/>
                </a:ext>
              </a:extLst>
            </p:cNvPr>
            <p:cNvSpPr/>
            <p:nvPr/>
          </p:nvSpPr>
          <p:spPr>
            <a:xfrm>
              <a:off x="3863886" y="2639072"/>
              <a:ext cx="565150" cy="565150"/>
            </a:xfrm>
            <a:custGeom>
              <a:avLst/>
              <a:gdLst/>
              <a:ahLst/>
              <a:cxnLst/>
              <a:rect l="l" t="t" r="r" b="b"/>
              <a:pathLst>
                <a:path w="565150" h="565150">
                  <a:moveTo>
                    <a:pt x="282448" y="0"/>
                  </a:moveTo>
                  <a:lnTo>
                    <a:pt x="236632" y="3696"/>
                  </a:lnTo>
                  <a:lnTo>
                    <a:pt x="193171" y="14399"/>
                  </a:lnTo>
                  <a:lnTo>
                    <a:pt x="152645" y="31525"/>
                  </a:lnTo>
                  <a:lnTo>
                    <a:pt x="115636" y="54495"/>
                  </a:lnTo>
                  <a:lnTo>
                    <a:pt x="82726" y="82726"/>
                  </a:lnTo>
                  <a:lnTo>
                    <a:pt x="54495" y="115636"/>
                  </a:lnTo>
                  <a:lnTo>
                    <a:pt x="31525" y="152645"/>
                  </a:lnTo>
                  <a:lnTo>
                    <a:pt x="14399" y="193171"/>
                  </a:lnTo>
                  <a:lnTo>
                    <a:pt x="3696" y="236632"/>
                  </a:lnTo>
                  <a:lnTo>
                    <a:pt x="0" y="282448"/>
                  </a:lnTo>
                  <a:lnTo>
                    <a:pt x="3696" y="328263"/>
                  </a:lnTo>
                  <a:lnTo>
                    <a:pt x="14399" y="371724"/>
                  </a:lnTo>
                  <a:lnTo>
                    <a:pt x="31525" y="412250"/>
                  </a:lnTo>
                  <a:lnTo>
                    <a:pt x="54495" y="449259"/>
                  </a:lnTo>
                  <a:lnTo>
                    <a:pt x="82726" y="482169"/>
                  </a:lnTo>
                  <a:lnTo>
                    <a:pt x="115636" y="510400"/>
                  </a:lnTo>
                  <a:lnTo>
                    <a:pt x="152645" y="533370"/>
                  </a:lnTo>
                  <a:lnTo>
                    <a:pt x="193171" y="550496"/>
                  </a:lnTo>
                  <a:lnTo>
                    <a:pt x="236632" y="561199"/>
                  </a:lnTo>
                  <a:lnTo>
                    <a:pt x="282448" y="564896"/>
                  </a:lnTo>
                  <a:lnTo>
                    <a:pt x="328263" y="561199"/>
                  </a:lnTo>
                  <a:lnTo>
                    <a:pt x="371724" y="550496"/>
                  </a:lnTo>
                  <a:lnTo>
                    <a:pt x="412250" y="533370"/>
                  </a:lnTo>
                  <a:lnTo>
                    <a:pt x="449259" y="510400"/>
                  </a:lnTo>
                  <a:lnTo>
                    <a:pt x="482169" y="482169"/>
                  </a:lnTo>
                  <a:lnTo>
                    <a:pt x="510400" y="449259"/>
                  </a:lnTo>
                  <a:lnTo>
                    <a:pt x="533370" y="412250"/>
                  </a:lnTo>
                  <a:lnTo>
                    <a:pt x="550496" y="371724"/>
                  </a:lnTo>
                  <a:lnTo>
                    <a:pt x="561199" y="328263"/>
                  </a:lnTo>
                  <a:lnTo>
                    <a:pt x="564896" y="282448"/>
                  </a:lnTo>
                  <a:lnTo>
                    <a:pt x="561199" y="236632"/>
                  </a:lnTo>
                  <a:lnTo>
                    <a:pt x="550496" y="193171"/>
                  </a:lnTo>
                  <a:lnTo>
                    <a:pt x="533370" y="152645"/>
                  </a:lnTo>
                  <a:lnTo>
                    <a:pt x="510400" y="115636"/>
                  </a:lnTo>
                  <a:lnTo>
                    <a:pt x="482169" y="82726"/>
                  </a:lnTo>
                  <a:lnTo>
                    <a:pt x="449259" y="54495"/>
                  </a:lnTo>
                  <a:lnTo>
                    <a:pt x="412250" y="31525"/>
                  </a:lnTo>
                  <a:lnTo>
                    <a:pt x="371724" y="14399"/>
                  </a:lnTo>
                  <a:lnTo>
                    <a:pt x="328263" y="3696"/>
                  </a:lnTo>
                  <a:lnTo>
                    <a:pt x="282448" y="0"/>
                  </a:lnTo>
                  <a:close/>
                </a:path>
              </a:pathLst>
            </a:custGeom>
            <a:solidFill>
              <a:srgbClr val="4140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9" name="object 41">
              <a:extLst>
                <a:ext uri="{FF2B5EF4-FFF2-40B4-BE49-F238E27FC236}">
                  <a16:creationId xmlns:a16="http://schemas.microsoft.com/office/drawing/2014/main" id="{CB887351-DD92-4395-A916-273564832FED}"/>
                </a:ext>
              </a:extLst>
            </p:cNvPr>
            <p:cNvSpPr/>
            <p:nvPr/>
          </p:nvSpPr>
          <p:spPr>
            <a:xfrm>
              <a:off x="3891470" y="2666657"/>
              <a:ext cx="509905" cy="509905"/>
            </a:xfrm>
            <a:custGeom>
              <a:avLst/>
              <a:gdLst/>
              <a:ahLst/>
              <a:cxnLst/>
              <a:rect l="l" t="t" r="r" b="b"/>
              <a:pathLst>
                <a:path w="509904" h="509905">
                  <a:moveTo>
                    <a:pt x="254850" y="0"/>
                  </a:moveTo>
                  <a:lnTo>
                    <a:pt x="209040" y="4106"/>
                  </a:lnTo>
                  <a:lnTo>
                    <a:pt x="165923" y="15945"/>
                  </a:lnTo>
                  <a:lnTo>
                    <a:pt x="126221" y="34797"/>
                  </a:lnTo>
                  <a:lnTo>
                    <a:pt x="90652" y="59941"/>
                  </a:lnTo>
                  <a:lnTo>
                    <a:pt x="59936" y="90659"/>
                  </a:lnTo>
                  <a:lnTo>
                    <a:pt x="34793" y="126230"/>
                  </a:lnTo>
                  <a:lnTo>
                    <a:pt x="15943" y="165934"/>
                  </a:lnTo>
                  <a:lnTo>
                    <a:pt x="4105" y="209052"/>
                  </a:lnTo>
                  <a:lnTo>
                    <a:pt x="0" y="254863"/>
                  </a:lnTo>
                  <a:lnTo>
                    <a:pt x="4105" y="300674"/>
                  </a:lnTo>
                  <a:lnTo>
                    <a:pt x="15943" y="343792"/>
                  </a:lnTo>
                  <a:lnTo>
                    <a:pt x="34793" y="383496"/>
                  </a:lnTo>
                  <a:lnTo>
                    <a:pt x="59936" y="419067"/>
                  </a:lnTo>
                  <a:lnTo>
                    <a:pt x="90652" y="449785"/>
                  </a:lnTo>
                  <a:lnTo>
                    <a:pt x="126221" y="474930"/>
                  </a:lnTo>
                  <a:lnTo>
                    <a:pt x="165923" y="493781"/>
                  </a:lnTo>
                  <a:lnTo>
                    <a:pt x="209040" y="505620"/>
                  </a:lnTo>
                  <a:lnTo>
                    <a:pt x="254850" y="509727"/>
                  </a:lnTo>
                  <a:lnTo>
                    <a:pt x="300662" y="505620"/>
                  </a:lnTo>
                  <a:lnTo>
                    <a:pt x="343779" y="493781"/>
                  </a:lnTo>
                  <a:lnTo>
                    <a:pt x="383484" y="474930"/>
                  </a:lnTo>
                  <a:lnTo>
                    <a:pt x="419054" y="449785"/>
                  </a:lnTo>
                  <a:lnTo>
                    <a:pt x="449772" y="419067"/>
                  </a:lnTo>
                  <a:lnTo>
                    <a:pt x="474917" y="383496"/>
                  </a:lnTo>
                  <a:lnTo>
                    <a:pt x="493769" y="343792"/>
                  </a:lnTo>
                  <a:lnTo>
                    <a:pt x="505608" y="300674"/>
                  </a:lnTo>
                  <a:lnTo>
                    <a:pt x="509714" y="254863"/>
                  </a:lnTo>
                  <a:lnTo>
                    <a:pt x="505608" y="209052"/>
                  </a:lnTo>
                  <a:lnTo>
                    <a:pt x="493769" y="165934"/>
                  </a:lnTo>
                  <a:lnTo>
                    <a:pt x="474917" y="126230"/>
                  </a:lnTo>
                  <a:lnTo>
                    <a:pt x="449772" y="90659"/>
                  </a:lnTo>
                  <a:lnTo>
                    <a:pt x="419054" y="59941"/>
                  </a:lnTo>
                  <a:lnTo>
                    <a:pt x="383484" y="34797"/>
                  </a:lnTo>
                  <a:lnTo>
                    <a:pt x="343779" y="15945"/>
                  </a:lnTo>
                  <a:lnTo>
                    <a:pt x="300662" y="4106"/>
                  </a:lnTo>
                  <a:lnTo>
                    <a:pt x="254850" y="0"/>
                  </a:lnTo>
                  <a:close/>
                </a:path>
              </a:pathLst>
            </a:custGeom>
            <a:solidFill>
              <a:srgbClr val="F9B63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0" name="object 42">
              <a:extLst>
                <a:ext uri="{FF2B5EF4-FFF2-40B4-BE49-F238E27FC236}">
                  <a16:creationId xmlns:a16="http://schemas.microsoft.com/office/drawing/2014/main" id="{91910D2B-6838-4C0D-809B-5B90F200ED5B}"/>
                </a:ext>
              </a:extLst>
            </p:cNvPr>
            <p:cNvSpPr/>
            <p:nvPr/>
          </p:nvSpPr>
          <p:spPr>
            <a:xfrm>
              <a:off x="3988168" y="2756128"/>
              <a:ext cx="316865" cy="300990"/>
            </a:xfrm>
            <a:custGeom>
              <a:avLst/>
              <a:gdLst/>
              <a:ahLst/>
              <a:cxnLst/>
              <a:rect l="l" t="t" r="r" b="b"/>
              <a:pathLst>
                <a:path w="316864" h="300989">
                  <a:moveTo>
                    <a:pt x="158165" y="0"/>
                  </a:moveTo>
                  <a:lnTo>
                    <a:pt x="109283" y="99034"/>
                  </a:lnTo>
                  <a:lnTo>
                    <a:pt x="0" y="114922"/>
                  </a:lnTo>
                  <a:lnTo>
                    <a:pt x="79082" y="192011"/>
                  </a:lnTo>
                  <a:lnTo>
                    <a:pt x="60413" y="300863"/>
                  </a:lnTo>
                  <a:lnTo>
                    <a:pt x="158165" y="249466"/>
                  </a:lnTo>
                  <a:lnTo>
                    <a:pt x="247102" y="249466"/>
                  </a:lnTo>
                  <a:lnTo>
                    <a:pt x="237248" y="192011"/>
                  </a:lnTo>
                  <a:lnTo>
                    <a:pt x="316331" y="114922"/>
                  </a:lnTo>
                  <a:lnTo>
                    <a:pt x="207048" y="99034"/>
                  </a:lnTo>
                  <a:lnTo>
                    <a:pt x="158165" y="0"/>
                  </a:lnTo>
                  <a:close/>
                </a:path>
                <a:path w="316864" h="300989">
                  <a:moveTo>
                    <a:pt x="247102" y="249466"/>
                  </a:moveTo>
                  <a:lnTo>
                    <a:pt x="158165" y="249466"/>
                  </a:lnTo>
                  <a:lnTo>
                    <a:pt x="255917" y="300863"/>
                  </a:lnTo>
                  <a:lnTo>
                    <a:pt x="247102" y="24946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1" name="object 43">
              <a:extLst>
                <a:ext uri="{FF2B5EF4-FFF2-40B4-BE49-F238E27FC236}">
                  <a16:creationId xmlns:a16="http://schemas.microsoft.com/office/drawing/2014/main" id="{83207D9F-D378-409F-9215-CF8F1C61F139}"/>
                </a:ext>
              </a:extLst>
            </p:cNvPr>
            <p:cNvSpPr/>
            <p:nvPr/>
          </p:nvSpPr>
          <p:spPr>
            <a:xfrm>
              <a:off x="6263220" y="2639072"/>
              <a:ext cx="565150" cy="565150"/>
            </a:xfrm>
            <a:custGeom>
              <a:avLst/>
              <a:gdLst/>
              <a:ahLst/>
              <a:cxnLst/>
              <a:rect l="l" t="t" r="r" b="b"/>
              <a:pathLst>
                <a:path w="565150" h="565150">
                  <a:moveTo>
                    <a:pt x="282448" y="0"/>
                  </a:moveTo>
                  <a:lnTo>
                    <a:pt x="236632" y="3696"/>
                  </a:lnTo>
                  <a:lnTo>
                    <a:pt x="193171" y="14399"/>
                  </a:lnTo>
                  <a:lnTo>
                    <a:pt x="152645" y="31525"/>
                  </a:lnTo>
                  <a:lnTo>
                    <a:pt x="115636" y="54495"/>
                  </a:lnTo>
                  <a:lnTo>
                    <a:pt x="82726" y="82726"/>
                  </a:lnTo>
                  <a:lnTo>
                    <a:pt x="54495" y="115636"/>
                  </a:lnTo>
                  <a:lnTo>
                    <a:pt x="31525" y="152645"/>
                  </a:lnTo>
                  <a:lnTo>
                    <a:pt x="14399" y="193171"/>
                  </a:lnTo>
                  <a:lnTo>
                    <a:pt x="3696" y="236632"/>
                  </a:lnTo>
                  <a:lnTo>
                    <a:pt x="0" y="282448"/>
                  </a:lnTo>
                  <a:lnTo>
                    <a:pt x="3696" y="328263"/>
                  </a:lnTo>
                  <a:lnTo>
                    <a:pt x="14399" y="371724"/>
                  </a:lnTo>
                  <a:lnTo>
                    <a:pt x="31525" y="412250"/>
                  </a:lnTo>
                  <a:lnTo>
                    <a:pt x="54495" y="449259"/>
                  </a:lnTo>
                  <a:lnTo>
                    <a:pt x="82726" y="482169"/>
                  </a:lnTo>
                  <a:lnTo>
                    <a:pt x="115636" y="510400"/>
                  </a:lnTo>
                  <a:lnTo>
                    <a:pt x="152645" y="533370"/>
                  </a:lnTo>
                  <a:lnTo>
                    <a:pt x="193171" y="550496"/>
                  </a:lnTo>
                  <a:lnTo>
                    <a:pt x="236632" y="561199"/>
                  </a:lnTo>
                  <a:lnTo>
                    <a:pt x="282448" y="564896"/>
                  </a:lnTo>
                  <a:lnTo>
                    <a:pt x="328263" y="561199"/>
                  </a:lnTo>
                  <a:lnTo>
                    <a:pt x="371724" y="550496"/>
                  </a:lnTo>
                  <a:lnTo>
                    <a:pt x="412250" y="533370"/>
                  </a:lnTo>
                  <a:lnTo>
                    <a:pt x="449259" y="510400"/>
                  </a:lnTo>
                  <a:lnTo>
                    <a:pt x="482169" y="482169"/>
                  </a:lnTo>
                  <a:lnTo>
                    <a:pt x="510400" y="449259"/>
                  </a:lnTo>
                  <a:lnTo>
                    <a:pt x="533370" y="412250"/>
                  </a:lnTo>
                  <a:lnTo>
                    <a:pt x="550496" y="371724"/>
                  </a:lnTo>
                  <a:lnTo>
                    <a:pt x="561199" y="328263"/>
                  </a:lnTo>
                  <a:lnTo>
                    <a:pt x="564896" y="282448"/>
                  </a:lnTo>
                  <a:lnTo>
                    <a:pt x="561199" y="236632"/>
                  </a:lnTo>
                  <a:lnTo>
                    <a:pt x="550496" y="193171"/>
                  </a:lnTo>
                  <a:lnTo>
                    <a:pt x="533370" y="152645"/>
                  </a:lnTo>
                  <a:lnTo>
                    <a:pt x="510400" y="115636"/>
                  </a:lnTo>
                  <a:lnTo>
                    <a:pt x="482169" y="82726"/>
                  </a:lnTo>
                  <a:lnTo>
                    <a:pt x="449259" y="54495"/>
                  </a:lnTo>
                  <a:lnTo>
                    <a:pt x="412250" y="31525"/>
                  </a:lnTo>
                  <a:lnTo>
                    <a:pt x="371724" y="14399"/>
                  </a:lnTo>
                  <a:lnTo>
                    <a:pt x="328263" y="3696"/>
                  </a:lnTo>
                  <a:lnTo>
                    <a:pt x="282448" y="0"/>
                  </a:lnTo>
                  <a:close/>
                </a:path>
              </a:pathLst>
            </a:custGeom>
            <a:solidFill>
              <a:srgbClr val="4140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2" name="object 44">
              <a:extLst>
                <a:ext uri="{FF2B5EF4-FFF2-40B4-BE49-F238E27FC236}">
                  <a16:creationId xmlns:a16="http://schemas.microsoft.com/office/drawing/2014/main" id="{879AFDDF-4E16-49E7-9B46-DF8FA7702A02}"/>
                </a:ext>
              </a:extLst>
            </p:cNvPr>
            <p:cNvSpPr/>
            <p:nvPr/>
          </p:nvSpPr>
          <p:spPr>
            <a:xfrm>
              <a:off x="6290842" y="2666657"/>
              <a:ext cx="509905" cy="509905"/>
            </a:xfrm>
            <a:custGeom>
              <a:avLst/>
              <a:gdLst/>
              <a:ahLst/>
              <a:cxnLst/>
              <a:rect l="l" t="t" r="r" b="b"/>
              <a:pathLst>
                <a:path w="509904" h="509905">
                  <a:moveTo>
                    <a:pt x="254850" y="0"/>
                  </a:moveTo>
                  <a:lnTo>
                    <a:pt x="209040" y="4106"/>
                  </a:lnTo>
                  <a:lnTo>
                    <a:pt x="165923" y="15945"/>
                  </a:lnTo>
                  <a:lnTo>
                    <a:pt x="126221" y="34797"/>
                  </a:lnTo>
                  <a:lnTo>
                    <a:pt x="90652" y="59941"/>
                  </a:lnTo>
                  <a:lnTo>
                    <a:pt x="59936" y="90659"/>
                  </a:lnTo>
                  <a:lnTo>
                    <a:pt x="34793" y="126230"/>
                  </a:lnTo>
                  <a:lnTo>
                    <a:pt x="15943" y="165934"/>
                  </a:lnTo>
                  <a:lnTo>
                    <a:pt x="4105" y="209052"/>
                  </a:lnTo>
                  <a:lnTo>
                    <a:pt x="0" y="254863"/>
                  </a:lnTo>
                  <a:lnTo>
                    <a:pt x="4105" y="300674"/>
                  </a:lnTo>
                  <a:lnTo>
                    <a:pt x="15943" y="343792"/>
                  </a:lnTo>
                  <a:lnTo>
                    <a:pt x="34793" y="383496"/>
                  </a:lnTo>
                  <a:lnTo>
                    <a:pt x="59936" y="419067"/>
                  </a:lnTo>
                  <a:lnTo>
                    <a:pt x="90652" y="449785"/>
                  </a:lnTo>
                  <a:lnTo>
                    <a:pt x="126221" y="474930"/>
                  </a:lnTo>
                  <a:lnTo>
                    <a:pt x="165923" y="493781"/>
                  </a:lnTo>
                  <a:lnTo>
                    <a:pt x="209040" y="505620"/>
                  </a:lnTo>
                  <a:lnTo>
                    <a:pt x="254850" y="509727"/>
                  </a:lnTo>
                  <a:lnTo>
                    <a:pt x="300662" y="505620"/>
                  </a:lnTo>
                  <a:lnTo>
                    <a:pt x="343779" y="493781"/>
                  </a:lnTo>
                  <a:lnTo>
                    <a:pt x="383484" y="474930"/>
                  </a:lnTo>
                  <a:lnTo>
                    <a:pt x="419054" y="449785"/>
                  </a:lnTo>
                  <a:lnTo>
                    <a:pt x="449772" y="419067"/>
                  </a:lnTo>
                  <a:lnTo>
                    <a:pt x="474917" y="383496"/>
                  </a:lnTo>
                  <a:lnTo>
                    <a:pt x="493769" y="343792"/>
                  </a:lnTo>
                  <a:lnTo>
                    <a:pt x="505608" y="300674"/>
                  </a:lnTo>
                  <a:lnTo>
                    <a:pt x="509714" y="254863"/>
                  </a:lnTo>
                  <a:lnTo>
                    <a:pt x="505608" y="209052"/>
                  </a:lnTo>
                  <a:lnTo>
                    <a:pt x="493769" y="165934"/>
                  </a:lnTo>
                  <a:lnTo>
                    <a:pt x="474917" y="126230"/>
                  </a:lnTo>
                  <a:lnTo>
                    <a:pt x="449772" y="90659"/>
                  </a:lnTo>
                  <a:lnTo>
                    <a:pt x="419054" y="59941"/>
                  </a:lnTo>
                  <a:lnTo>
                    <a:pt x="383484" y="34797"/>
                  </a:lnTo>
                  <a:lnTo>
                    <a:pt x="343779" y="15945"/>
                  </a:lnTo>
                  <a:lnTo>
                    <a:pt x="300662" y="4106"/>
                  </a:lnTo>
                  <a:lnTo>
                    <a:pt x="254850" y="0"/>
                  </a:lnTo>
                  <a:close/>
                </a:path>
              </a:pathLst>
            </a:custGeom>
            <a:solidFill>
              <a:srgbClr val="F9B63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3" name="object 45">
              <a:extLst>
                <a:ext uri="{FF2B5EF4-FFF2-40B4-BE49-F238E27FC236}">
                  <a16:creationId xmlns:a16="http://schemas.microsoft.com/office/drawing/2014/main" id="{3BC5B3D8-AE91-49A9-B080-2363F230188E}"/>
                </a:ext>
              </a:extLst>
            </p:cNvPr>
            <p:cNvSpPr/>
            <p:nvPr/>
          </p:nvSpPr>
          <p:spPr>
            <a:xfrm>
              <a:off x="6387363" y="2756128"/>
              <a:ext cx="316865" cy="300990"/>
            </a:xfrm>
            <a:custGeom>
              <a:avLst/>
              <a:gdLst/>
              <a:ahLst/>
              <a:cxnLst/>
              <a:rect l="l" t="t" r="r" b="b"/>
              <a:pathLst>
                <a:path w="316865" h="300989">
                  <a:moveTo>
                    <a:pt x="158165" y="0"/>
                  </a:moveTo>
                  <a:lnTo>
                    <a:pt x="109283" y="99034"/>
                  </a:lnTo>
                  <a:lnTo>
                    <a:pt x="0" y="114922"/>
                  </a:lnTo>
                  <a:lnTo>
                    <a:pt x="79082" y="192011"/>
                  </a:lnTo>
                  <a:lnTo>
                    <a:pt x="60413" y="300863"/>
                  </a:lnTo>
                  <a:lnTo>
                    <a:pt x="158165" y="249466"/>
                  </a:lnTo>
                  <a:lnTo>
                    <a:pt x="247102" y="249466"/>
                  </a:lnTo>
                  <a:lnTo>
                    <a:pt x="237248" y="192011"/>
                  </a:lnTo>
                  <a:lnTo>
                    <a:pt x="316331" y="114922"/>
                  </a:lnTo>
                  <a:lnTo>
                    <a:pt x="207048" y="99034"/>
                  </a:lnTo>
                  <a:lnTo>
                    <a:pt x="158165" y="0"/>
                  </a:lnTo>
                  <a:close/>
                </a:path>
                <a:path w="316865" h="300989">
                  <a:moveTo>
                    <a:pt x="247102" y="249466"/>
                  </a:moveTo>
                  <a:lnTo>
                    <a:pt x="158165" y="249466"/>
                  </a:lnTo>
                  <a:lnTo>
                    <a:pt x="255917" y="300863"/>
                  </a:lnTo>
                  <a:lnTo>
                    <a:pt x="247102" y="24946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4" name="object 46">
              <a:extLst>
                <a:ext uri="{FF2B5EF4-FFF2-40B4-BE49-F238E27FC236}">
                  <a16:creationId xmlns:a16="http://schemas.microsoft.com/office/drawing/2014/main" id="{E8E68D84-821F-4E84-9FA8-184109FDAFDC}"/>
                </a:ext>
              </a:extLst>
            </p:cNvPr>
            <p:cNvSpPr/>
            <p:nvPr/>
          </p:nvSpPr>
          <p:spPr>
            <a:xfrm>
              <a:off x="8662568" y="2639072"/>
              <a:ext cx="565150" cy="565150"/>
            </a:xfrm>
            <a:custGeom>
              <a:avLst/>
              <a:gdLst/>
              <a:ahLst/>
              <a:cxnLst/>
              <a:rect l="l" t="t" r="r" b="b"/>
              <a:pathLst>
                <a:path w="565150" h="565150">
                  <a:moveTo>
                    <a:pt x="282448" y="0"/>
                  </a:moveTo>
                  <a:lnTo>
                    <a:pt x="236632" y="3696"/>
                  </a:lnTo>
                  <a:lnTo>
                    <a:pt x="193171" y="14399"/>
                  </a:lnTo>
                  <a:lnTo>
                    <a:pt x="152645" y="31525"/>
                  </a:lnTo>
                  <a:lnTo>
                    <a:pt x="115636" y="54495"/>
                  </a:lnTo>
                  <a:lnTo>
                    <a:pt x="82726" y="82726"/>
                  </a:lnTo>
                  <a:lnTo>
                    <a:pt x="54495" y="115636"/>
                  </a:lnTo>
                  <a:lnTo>
                    <a:pt x="31525" y="152645"/>
                  </a:lnTo>
                  <a:lnTo>
                    <a:pt x="14399" y="193171"/>
                  </a:lnTo>
                  <a:lnTo>
                    <a:pt x="3696" y="236632"/>
                  </a:lnTo>
                  <a:lnTo>
                    <a:pt x="0" y="282448"/>
                  </a:lnTo>
                  <a:lnTo>
                    <a:pt x="3696" y="328263"/>
                  </a:lnTo>
                  <a:lnTo>
                    <a:pt x="14399" y="371724"/>
                  </a:lnTo>
                  <a:lnTo>
                    <a:pt x="31525" y="412250"/>
                  </a:lnTo>
                  <a:lnTo>
                    <a:pt x="54495" y="449259"/>
                  </a:lnTo>
                  <a:lnTo>
                    <a:pt x="82726" y="482169"/>
                  </a:lnTo>
                  <a:lnTo>
                    <a:pt x="115636" y="510400"/>
                  </a:lnTo>
                  <a:lnTo>
                    <a:pt x="152645" y="533370"/>
                  </a:lnTo>
                  <a:lnTo>
                    <a:pt x="193171" y="550496"/>
                  </a:lnTo>
                  <a:lnTo>
                    <a:pt x="236632" y="561199"/>
                  </a:lnTo>
                  <a:lnTo>
                    <a:pt x="282448" y="564896"/>
                  </a:lnTo>
                  <a:lnTo>
                    <a:pt x="328263" y="561199"/>
                  </a:lnTo>
                  <a:lnTo>
                    <a:pt x="371724" y="550496"/>
                  </a:lnTo>
                  <a:lnTo>
                    <a:pt x="412250" y="533370"/>
                  </a:lnTo>
                  <a:lnTo>
                    <a:pt x="449259" y="510400"/>
                  </a:lnTo>
                  <a:lnTo>
                    <a:pt x="482169" y="482169"/>
                  </a:lnTo>
                  <a:lnTo>
                    <a:pt x="510400" y="449259"/>
                  </a:lnTo>
                  <a:lnTo>
                    <a:pt x="533370" y="412250"/>
                  </a:lnTo>
                  <a:lnTo>
                    <a:pt x="550496" y="371724"/>
                  </a:lnTo>
                  <a:lnTo>
                    <a:pt x="561199" y="328263"/>
                  </a:lnTo>
                  <a:lnTo>
                    <a:pt x="564896" y="282448"/>
                  </a:lnTo>
                  <a:lnTo>
                    <a:pt x="561199" y="236632"/>
                  </a:lnTo>
                  <a:lnTo>
                    <a:pt x="550496" y="193171"/>
                  </a:lnTo>
                  <a:lnTo>
                    <a:pt x="533370" y="152645"/>
                  </a:lnTo>
                  <a:lnTo>
                    <a:pt x="510400" y="115636"/>
                  </a:lnTo>
                  <a:lnTo>
                    <a:pt x="482169" y="82726"/>
                  </a:lnTo>
                  <a:lnTo>
                    <a:pt x="449259" y="54495"/>
                  </a:lnTo>
                  <a:lnTo>
                    <a:pt x="412250" y="31525"/>
                  </a:lnTo>
                  <a:lnTo>
                    <a:pt x="371724" y="14399"/>
                  </a:lnTo>
                  <a:lnTo>
                    <a:pt x="328263" y="3696"/>
                  </a:lnTo>
                  <a:lnTo>
                    <a:pt x="282448" y="0"/>
                  </a:lnTo>
                  <a:close/>
                </a:path>
              </a:pathLst>
            </a:custGeom>
            <a:solidFill>
              <a:srgbClr val="4140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5" name="object 47">
              <a:extLst>
                <a:ext uri="{FF2B5EF4-FFF2-40B4-BE49-F238E27FC236}">
                  <a16:creationId xmlns:a16="http://schemas.microsoft.com/office/drawing/2014/main" id="{A2DAB4E1-AB30-4BD7-90B0-3070AB684B09}"/>
                </a:ext>
              </a:extLst>
            </p:cNvPr>
            <p:cNvSpPr/>
            <p:nvPr/>
          </p:nvSpPr>
          <p:spPr>
            <a:xfrm>
              <a:off x="8690152" y="2666657"/>
              <a:ext cx="509905" cy="509905"/>
            </a:xfrm>
            <a:custGeom>
              <a:avLst/>
              <a:gdLst/>
              <a:ahLst/>
              <a:cxnLst/>
              <a:rect l="l" t="t" r="r" b="b"/>
              <a:pathLst>
                <a:path w="509904" h="509905">
                  <a:moveTo>
                    <a:pt x="254850" y="0"/>
                  </a:moveTo>
                  <a:lnTo>
                    <a:pt x="209040" y="4106"/>
                  </a:lnTo>
                  <a:lnTo>
                    <a:pt x="165923" y="15945"/>
                  </a:lnTo>
                  <a:lnTo>
                    <a:pt x="126221" y="34797"/>
                  </a:lnTo>
                  <a:lnTo>
                    <a:pt x="90652" y="59941"/>
                  </a:lnTo>
                  <a:lnTo>
                    <a:pt x="59936" y="90659"/>
                  </a:lnTo>
                  <a:lnTo>
                    <a:pt x="34793" y="126230"/>
                  </a:lnTo>
                  <a:lnTo>
                    <a:pt x="15943" y="165934"/>
                  </a:lnTo>
                  <a:lnTo>
                    <a:pt x="4105" y="209052"/>
                  </a:lnTo>
                  <a:lnTo>
                    <a:pt x="0" y="254863"/>
                  </a:lnTo>
                  <a:lnTo>
                    <a:pt x="4105" y="300674"/>
                  </a:lnTo>
                  <a:lnTo>
                    <a:pt x="15943" y="343792"/>
                  </a:lnTo>
                  <a:lnTo>
                    <a:pt x="34793" y="383496"/>
                  </a:lnTo>
                  <a:lnTo>
                    <a:pt x="59936" y="419067"/>
                  </a:lnTo>
                  <a:lnTo>
                    <a:pt x="90652" y="449785"/>
                  </a:lnTo>
                  <a:lnTo>
                    <a:pt x="126221" y="474930"/>
                  </a:lnTo>
                  <a:lnTo>
                    <a:pt x="165923" y="493781"/>
                  </a:lnTo>
                  <a:lnTo>
                    <a:pt x="209040" y="505620"/>
                  </a:lnTo>
                  <a:lnTo>
                    <a:pt x="254850" y="509727"/>
                  </a:lnTo>
                  <a:lnTo>
                    <a:pt x="300662" y="505620"/>
                  </a:lnTo>
                  <a:lnTo>
                    <a:pt x="343779" y="493781"/>
                  </a:lnTo>
                  <a:lnTo>
                    <a:pt x="383484" y="474930"/>
                  </a:lnTo>
                  <a:lnTo>
                    <a:pt x="419054" y="449785"/>
                  </a:lnTo>
                  <a:lnTo>
                    <a:pt x="449772" y="419067"/>
                  </a:lnTo>
                  <a:lnTo>
                    <a:pt x="474917" y="383496"/>
                  </a:lnTo>
                  <a:lnTo>
                    <a:pt x="493769" y="343792"/>
                  </a:lnTo>
                  <a:lnTo>
                    <a:pt x="505608" y="300674"/>
                  </a:lnTo>
                  <a:lnTo>
                    <a:pt x="509714" y="254863"/>
                  </a:lnTo>
                  <a:lnTo>
                    <a:pt x="505608" y="209052"/>
                  </a:lnTo>
                  <a:lnTo>
                    <a:pt x="493769" y="165934"/>
                  </a:lnTo>
                  <a:lnTo>
                    <a:pt x="474917" y="126230"/>
                  </a:lnTo>
                  <a:lnTo>
                    <a:pt x="449772" y="90659"/>
                  </a:lnTo>
                  <a:lnTo>
                    <a:pt x="419054" y="59941"/>
                  </a:lnTo>
                  <a:lnTo>
                    <a:pt x="383484" y="34797"/>
                  </a:lnTo>
                  <a:lnTo>
                    <a:pt x="343779" y="15945"/>
                  </a:lnTo>
                  <a:lnTo>
                    <a:pt x="300662" y="4106"/>
                  </a:lnTo>
                  <a:lnTo>
                    <a:pt x="254850" y="0"/>
                  </a:lnTo>
                  <a:close/>
                </a:path>
              </a:pathLst>
            </a:custGeom>
            <a:solidFill>
              <a:srgbClr val="F9B63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6" name="object 48">
              <a:extLst>
                <a:ext uri="{FF2B5EF4-FFF2-40B4-BE49-F238E27FC236}">
                  <a16:creationId xmlns:a16="http://schemas.microsoft.com/office/drawing/2014/main" id="{BF5CCC43-F501-4333-95EA-5B495B65C5F9}"/>
                </a:ext>
              </a:extLst>
            </p:cNvPr>
            <p:cNvSpPr/>
            <p:nvPr/>
          </p:nvSpPr>
          <p:spPr>
            <a:xfrm>
              <a:off x="8786838" y="2756128"/>
              <a:ext cx="316865" cy="300990"/>
            </a:xfrm>
            <a:custGeom>
              <a:avLst/>
              <a:gdLst/>
              <a:ahLst/>
              <a:cxnLst/>
              <a:rect l="l" t="t" r="r" b="b"/>
              <a:pathLst>
                <a:path w="316865" h="300989">
                  <a:moveTo>
                    <a:pt x="158165" y="0"/>
                  </a:moveTo>
                  <a:lnTo>
                    <a:pt x="109283" y="99034"/>
                  </a:lnTo>
                  <a:lnTo>
                    <a:pt x="0" y="114922"/>
                  </a:lnTo>
                  <a:lnTo>
                    <a:pt x="79082" y="192011"/>
                  </a:lnTo>
                  <a:lnTo>
                    <a:pt x="60413" y="300863"/>
                  </a:lnTo>
                  <a:lnTo>
                    <a:pt x="158165" y="249466"/>
                  </a:lnTo>
                  <a:lnTo>
                    <a:pt x="247102" y="249466"/>
                  </a:lnTo>
                  <a:lnTo>
                    <a:pt x="237248" y="192011"/>
                  </a:lnTo>
                  <a:lnTo>
                    <a:pt x="316331" y="114922"/>
                  </a:lnTo>
                  <a:lnTo>
                    <a:pt x="207048" y="99034"/>
                  </a:lnTo>
                  <a:lnTo>
                    <a:pt x="158165" y="0"/>
                  </a:lnTo>
                  <a:close/>
                </a:path>
                <a:path w="316865" h="300989">
                  <a:moveTo>
                    <a:pt x="247102" y="249466"/>
                  </a:moveTo>
                  <a:lnTo>
                    <a:pt x="158165" y="249466"/>
                  </a:lnTo>
                  <a:lnTo>
                    <a:pt x="255917" y="300863"/>
                  </a:lnTo>
                  <a:lnTo>
                    <a:pt x="247102" y="24946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8" name="Espaço Reservado para Texto 7"/>
          <p:cNvSpPr>
            <a:spLocks noGrp="1"/>
          </p:cNvSpPr>
          <p:nvPr>
            <p:ph type="body" idx="4294967295"/>
          </p:nvPr>
        </p:nvSpPr>
        <p:spPr>
          <a:xfrm>
            <a:off x="2904134" y="2323729"/>
            <a:ext cx="6100167" cy="2471318"/>
          </a:xfrm>
          <a:prstGeom prst="rect">
            <a:avLst/>
          </a:prstGeom>
        </p:spPr>
        <p:txBody>
          <a:bodyPr/>
          <a:lstStyle/>
          <a:p>
            <a:pPr marL="355600" marR="5080" indent="-342900">
              <a:lnSpc>
                <a:spcPct val="101499"/>
              </a:lnSpc>
              <a:buFont typeface="Arial" panose="020B0604020202020204" pitchFamily="34" charset="0"/>
              <a:buChar char="•"/>
            </a:pPr>
            <a:endParaRPr lang="pt-BR" sz="1400" spc="75" dirty="0">
              <a:solidFill>
                <a:srgbClr val="414042"/>
              </a:solidFill>
              <a:latin typeface="Century Gothic" panose="020B0502020202020204" pitchFamily="34" charset="0"/>
              <a:cs typeface="Calibri"/>
            </a:endParaRPr>
          </a:p>
          <a:p>
            <a:pPr marL="355600" marR="5080" indent="-342900">
              <a:lnSpc>
                <a:spcPct val="105000"/>
              </a:lnSpc>
              <a:buSzPts val="900"/>
              <a:buFont typeface="Arial" panose="020B0604020202020204" pitchFamily="34" charset="0"/>
              <a:buChar char="•"/>
            </a:pPr>
            <a:r>
              <a:rPr lang="en-US" spc="75" dirty="0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Eliminates human errors;</a:t>
            </a:r>
          </a:p>
          <a:p>
            <a:pPr marL="355600" marR="5080" indent="-342900">
              <a:lnSpc>
                <a:spcPct val="105000"/>
              </a:lnSpc>
              <a:buSzPts val="900"/>
              <a:buFont typeface="Arial" panose="020B0604020202020204" pitchFamily="34" charset="0"/>
              <a:buChar char="•"/>
            </a:pPr>
            <a:r>
              <a:rPr lang="en-US" b="1" spc="75" dirty="0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Transparency in trade negotiations;</a:t>
            </a:r>
          </a:p>
          <a:p>
            <a:pPr marL="355600" marR="5080" indent="-342900">
              <a:lnSpc>
                <a:spcPct val="105000"/>
              </a:lnSpc>
              <a:buSzPts val="900"/>
              <a:buFont typeface="Arial" panose="020B0604020202020204" pitchFamily="34" charset="0"/>
              <a:buChar char="•"/>
            </a:pPr>
            <a:r>
              <a:rPr lang="en-US" spc="75" dirty="0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Traceability (visual counterproof);</a:t>
            </a:r>
          </a:p>
          <a:p>
            <a:pPr marL="355600" marR="5080" indent="-342900">
              <a:lnSpc>
                <a:spcPct val="105000"/>
              </a:lnSpc>
              <a:buSzPts val="900"/>
              <a:buFont typeface="Arial" panose="020B0604020202020204" pitchFamily="34" charset="0"/>
              <a:buChar char="•"/>
            </a:pPr>
            <a:r>
              <a:rPr lang="en-US" spc="75" dirty="0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Allows visual counter-tests;</a:t>
            </a:r>
          </a:p>
          <a:p>
            <a:pPr marL="355600" marR="5080" indent="-342900">
              <a:lnSpc>
                <a:spcPct val="105000"/>
              </a:lnSpc>
              <a:buSzPts val="900"/>
              <a:buFont typeface="Arial" panose="020B0604020202020204" pitchFamily="34" charset="0"/>
              <a:buChar char="•"/>
            </a:pPr>
            <a:r>
              <a:rPr lang="en-US" spc="75" dirty="0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Real-time tracking on various sites.</a:t>
            </a:r>
          </a:p>
          <a:p>
            <a:pPr marL="355600" marR="5080" indent="-342900">
              <a:lnSpc>
                <a:spcPct val="105000"/>
              </a:lnSpc>
              <a:buSzPts val="900"/>
              <a:buFont typeface="Arial" panose="020B0604020202020204" pitchFamily="34" charset="0"/>
              <a:buChar char="•"/>
            </a:pPr>
            <a:r>
              <a:rPr lang="en-US" spc="75" dirty="0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Standardized analyzes;</a:t>
            </a:r>
          </a:p>
          <a:p>
            <a:pPr marL="355600" marR="5080" indent="-342900">
              <a:lnSpc>
                <a:spcPct val="105000"/>
              </a:lnSpc>
              <a:buSzPts val="900"/>
              <a:buFont typeface="Arial" panose="020B0604020202020204" pitchFamily="34" charset="0"/>
              <a:buChar char="•"/>
            </a:pPr>
            <a:r>
              <a:rPr lang="en-US" spc="75" dirty="0">
                <a:solidFill>
                  <a:srgbClr val="414042"/>
                </a:solidFill>
                <a:latin typeface="Century Gothic" panose="020B0502020202020204" pitchFamily="34" charset="0"/>
                <a:cs typeface="Calibri"/>
              </a:rPr>
              <a:t>Reduction of costs;</a:t>
            </a:r>
            <a:endParaRPr lang="pt-BR" spc="75" dirty="0">
              <a:solidFill>
                <a:srgbClr val="414042"/>
              </a:solidFill>
              <a:latin typeface="Century Gothic" panose="020B0502020202020204" pitchFamily="34" charset="0"/>
              <a:ea typeface="Nunito Sans"/>
              <a:cs typeface="Calibri"/>
              <a:sym typeface="Nunito Sans"/>
            </a:endParaRPr>
          </a:p>
        </p:txBody>
      </p:sp>
      <p:cxnSp>
        <p:nvCxnSpPr>
          <p:cNvPr id="39" name="Straight Connector 4">
            <a:extLst>
              <a:ext uri="{FF2B5EF4-FFF2-40B4-BE49-F238E27FC236}">
                <a16:creationId xmlns:a16="http://schemas.microsoft.com/office/drawing/2014/main" id="{403F5326-8CA7-4AC9-87BD-39A46F7D4C80}"/>
              </a:ext>
            </a:extLst>
          </p:cNvPr>
          <p:cNvCxnSpPr>
            <a:cxnSpLocks/>
          </p:cNvCxnSpPr>
          <p:nvPr/>
        </p:nvCxnSpPr>
        <p:spPr>
          <a:xfrm>
            <a:off x="3212862" y="2493460"/>
            <a:ext cx="5425546" cy="0"/>
          </a:xfrm>
          <a:prstGeom prst="line">
            <a:avLst/>
          </a:prstGeom>
          <a:ln>
            <a:solidFill>
              <a:schemeClr val="tx1">
                <a:alpha val="3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20365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  <p:tag name="THINKCELLSHAPEDONOTDELETE" val="pwCeI_5zJREiPK05phJ3ZJ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  <p:tag name="THINKCELLSHAPEDONOTDELETE" val="pTFR4pbsGkk.qqB1upZ1taA"/>
</p:tagLst>
</file>

<file path=ppt/theme/theme1.xml><?xml version="1.0" encoding="utf-8"?>
<a:theme xmlns:a="http://schemas.openxmlformats.org/drawingml/2006/main" name="Ulysses template">
  <a:themeElements>
    <a:clrScheme name="Custom 347">
      <a:dk1>
        <a:srgbClr val="000000"/>
      </a:dk1>
      <a:lt1>
        <a:srgbClr val="FFFFFF"/>
      </a:lt1>
      <a:dk2>
        <a:srgbClr val="666666"/>
      </a:dk2>
      <a:lt2>
        <a:srgbClr val="CCCCCC"/>
      </a:lt2>
      <a:accent1>
        <a:srgbClr val="3A81BA"/>
      </a:accent1>
      <a:accent2>
        <a:srgbClr val="D89F39"/>
      </a:accent2>
      <a:accent3>
        <a:srgbClr val="8BAB42"/>
      </a:accent3>
      <a:accent4>
        <a:srgbClr val="57A7B5"/>
      </a:accent4>
      <a:accent5>
        <a:srgbClr val="8B81D2"/>
      </a:accent5>
      <a:accent6>
        <a:srgbClr val="963334"/>
      </a:accent6>
      <a:hlink>
        <a:srgbClr val="1155CC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spect</Template>
  <TotalTime>2452</TotalTime>
  <Words>670</Words>
  <Application>Microsoft Office PowerPoint</Application>
  <PresentationFormat>Apresentação na tela (16:9)</PresentationFormat>
  <Paragraphs>282</Paragraphs>
  <Slides>18</Slides>
  <Notes>8</Notes>
  <HiddenSlides>0</HiddenSlides>
  <MMClips>0</MMClips>
  <ScaleCrop>false</ScaleCrop>
  <HeadingPairs>
    <vt:vector size="6" baseType="variant">
      <vt:variant>
        <vt:lpstr>Fo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Títulos de slides</vt:lpstr>
      </vt:variant>
      <vt:variant>
        <vt:i4>18</vt:i4>
      </vt:variant>
    </vt:vector>
  </HeadingPairs>
  <TitlesOfParts>
    <vt:vector size="25" baseType="lpstr">
      <vt:lpstr>DIN Next CYR</vt:lpstr>
      <vt:lpstr>Calibri</vt:lpstr>
      <vt:lpstr>Nunito Sans</vt:lpstr>
      <vt:lpstr>Arial</vt:lpstr>
      <vt:lpstr>Century Gothic</vt:lpstr>
      <vt:lpstr>Georgia</vt:lpstr>
      <vt:lpstr>Ulysses template</vt:lpstr>
      <vt:lpstr>SHAPING A WORLD  OF TRUST</vt:lpstr>
      <vt:lpstr>Apresentação do PowerPoint</vt:lpstr>
      <vt:lpstr>Summary of Agri-Food Segments  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PO – TERCEIRAZAÇÃO ADMINISTRATIVA FINANCEIRA</dc:title>
  <dc:creator>Carlos Henrique Oliveira Garcia</dc:creator>
  <cp:lastModifiedBy>igor chalfoun</cp:lastModifiedBy>
  <cp:revision>106</cp:revision>
  <dcterms:modified xsi:type="dcterms:W3CDTF">2019-08-13T14:19:35Z</dcterms:modified>
</cp:coreProperties>
</file>